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tags/tag29.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30.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tags/tag31.xml" ContentType="application/vnd.openxmlformats-officedocument.presentationml.tags+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tags/tag32.xml" ContentType="application/vnd.openxmlformats-officedocument.presentationml.tags+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tags/tag33.xml" ContentType="application/vnd.openxmlformats-officedocument.presentationml.tags+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tags/tag34.xml" ContentType="application/vnd.openxmlformats-officedocument.presentationml.tags+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tags/tag35.xml" ContentType="application/vnd.openxmlformats-officedocument.presentationml.tags+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tags/tag36.xml" ContentType="application/vnd.openxmlformats-officedocument.presentationml.tags+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tags/tag37.xml" ContentType="application/vnd.openxmlformats-officedocument.presentationml.tags+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tags/tag38.xml" ContentType="application/vnd.openxmlformats-officedocument.presentationml.tags+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tags/tag39.xml" ContentType="application/vnd.openxmlformats-officedocument.presentationml.tags+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tags/tag40.xml" ContentType="application/vnd.openxmlformats-officedocument.presentationml.tags+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tags/tag41.xml" ContentType="application/vnd.openxmlformats-officedocument.presentationml.tags+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tags/tag42.xml" ContentType="application/vnd.openxmlformats-officedocument.presentationml.tags+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tags/tag43.xml" ContentType="application/vnd.openxmlformats-officedocument.presentationml.tags+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tags/tag44.xml" ContentType="application/vnd.openxmlformats-officedocument.presentationml.tags+xml"/>
  <Override PartName="/ppt/charts/chart49.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tags/tag45.xml" ContentType="application/vnd.openxmlformats-officedocument.presentationml.tags+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tags/tag46.xml" ContentType="application/vnd.openxmlformats-officedocument.presentationml.tags+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tags/tag47.xml" ContentType="application/vnd.openxmlformats-officedocument.presentationml.tags+xml"/>
  <Override PartName="/ppt/charts/chart58.xml" ContentType="application/vnd.openxmlformats-officedocument.drawingml.chart+xml"/>
  <Override PartName="/ppt/charts/chart59.xml" ContentType="application/vnd.openxmlformats-officedocument.drawingml.chart+xml"/>
  <Override PartName="/ppt/charts/chart60.xml" ContentType="application/vnd.openxmlformats-officedocument.drawingml.chart+xml"/>
  <Override PartName="/ppt/tags/tag48.xml" ContentType="application/vnd.openxmlformats-officedocument.presentationml.tags+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tags/tag49.xml" ContentType="application/vnd.openxmlformats-officedocument.presentationml.tags+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tags/tag50.xml" ContentType="application/vnd.openxmlformats-officedocument.presentationml.tags+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tags/tag51.xml" ContentType="application/vnd.openxmlformats-officedocument.presentationml.tags+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tags/tag52.xml" ContentType="application/vnd.openxmlformats-officedocument.presentationml.tags+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tags/tag53.xml" ContentType="application/vnd.openxmlformats-officedocument.presentationml.tags+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tags/tag54.xml" ContentType="application/vnd.openxmlformats-officedocument.presentationml.tags+xml"/>
  <Override PartName="/ppt/charts/chart79.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tags/tag55.xml" ContentType="application/vnd.openxmlformats-officedocument.presentationml.tags+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tags/tag56.xml" ContentType="application/vnd.openxmlformats-officedocument.presentationml.tags+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tags/tag57.xml" ContentType="application/vnd.openxmlformats-officedocument.presentationml.tags+xml"/>
  <Override PartName="/ppt/charts/chart88.xml" ContentType="application/vnd.openxmlformats-officedocument.drawingml.chart+xml"/>
  <Override PartName="/ppt/charts/chart89.xml" ContentType="application/vnd.openxmlformats-officedocument.drawingml.chart+xml"/>
  <Override PartName="/ppt/charts/chart90.xml" ContentType="application/vnd.openxmlformats-officedocument.drawingml.chart+xml"/>
  <Override PartName="/ppt/tags/tag58.xml" ContentType="application/vnd.openxmlformats-officedocument.presentationml.tags+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tags/tag59.xml" ContentType="application/vnd.openxmlformats-officedocument.presentationml.tags+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tags/tag60.xml" ContentType="application/vnd.openxmlformats-officedocument.presentationml.tags+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tags/tag61.xml" ContentType="application/vnd.openxmlformats-officedocument.presentationml.tags+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tags/tag62.xml" ContentType="application/vnd.openxmlformats-officedocument.presentationml.tags+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tags/tag63.xml" ContentType="application/vnd.openxmlformats-officedocument.presentationml.tags+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41"/>
  </p:notesMasterIdLst>
  <p:sldIdLst>
    <p:sldId id="2147475171" r:id="rId5"/>
    <p:sldId id="2147475172" r:id="rId6"/>
    <p:sldId id="2147475173" r:id="rId7"/>
    <p:sldId id="2147475174" r:id="rId8"/>
    <p:sldId id="2147475175" r:id="rId9"/>
    <p:sldId id="2147475176" r:id="rId10"/>
    <p:sldId id="2147475177" r:id="rId11"/>
    <p:sldId id="2147475178" r:id="rId12"/>
    <p:sldId id="2147475179" r:id="rId13"/>
    <p:sldId id="2147475180" r:id="rId14"/>
    <p:sldId id="2147475181" r:id="rId15"/>
    <p:sldId id="2147475182" r:id="rId16"/>
    <p:sldId id="2147475183" r:id="rId17"/>
    <p:sldId id="2147475184" r:id="rId18"/>
    <p:sldId id="2147475185" r:id="rId19"/>
    <p:sldId id="2147475186" r:id="rId20"/>
    <p:sldId id="2147475187" r:id="rId21"/>
    <p:sldId id="2147475188" r:id="rId22"/>
    <p:sldId id="2147475189" r:id="rId23"/>
    <p:sldId id="2147475190" r:id="rId24"/>
    <p:sldId id="2147475191" r:id="rId25"/>
    <p:sldId id="2147475192" r:id="rId26"/>
    <p:sldId id="2147475193" r:id="rId27"/>
    <p:sldId id="2147475194" r:id="rId28"/>
    <p:sldId id="2147475195" r:id="rId29"/>
    <p:sldId id="2147475196" r:id="rId30"/>
    <p:sldId id="2147475197" r:id="rId31"/>
    <p:sldId id="2147475198" r:id="rId32"/>
    <p:sldId id="2147475199" r:id="rId33"/>
    <p:sldId id="2147475200" r:id="rId34"/>
    <p:sldId id="2147475201" r:id="rId35"/>
    <p:sldId id="2147475202" r:id="rId36"/>
    <p:sldId id="2147475203" r:id="rId37"/>
    <p:sldId id="2147475204" r:id="rId38"/>
    <p:sldId id="2147475205" r:id="rId39"/>
    <p:sldId id="2147475206" r:id="rId40"/>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nd Share Topline By Size Bracket" id="{3B8495DC-0FFC-47A3-B26A-AA41F849777E}">
          <p14:sldIdLst>
            <p14:sldId id="2147475171"/>
            <p14:sldId id="2147475172"/>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103" d="100"/>
          <a:sy n="103" d="100"/>
        </p:scale>
        <p:origin x="293" y="77"/>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presProps" Target="presProps.xml"/><Relationship Id="rId47" Type="http://schemas.microsoft.com/office/2018/10/relationships/authors" Target="author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viewProps" Target="viewProp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microsoft.com/office/2015/10/relationships/revisionInfo" Target="revisionInfo.xml"/><Relationship Id="rId20" Type="http://schemas.openxmlformats.org/officeDocument/2006/relationships/slide" Target="slides/slide16.xml"/><Relationship Id="rId41"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0">
                  <c:v>0.30330000000000001</c:v>
                </c:pt>
                <c:pt idx="1">
                  <c:v>4.5999999999999999E-3</c:v>
                </c:pt>
                <c:pt idx="2">
                  <c:v>1.8499999999999999E-2</c:v>
                </c:pt>
                <c:pt idx="4">
                  <c:v>8.2600000000000007E-2</c:v>
                </c:pt>
                <c:pt idx="5">
                  <c:v>0.30230000000000001</c:v>
                </c:pt>
                <c:pt idx="6">
                  <c:v>0.17460000000000001</c:v>
                </c:pt>
                <c:pt idx="7">
                  <c:v>9.3799999999999994E-2</c:v>
                </c:pt>
                <c:pt idx="8">
                  <c:v>2.0299999999999999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5">
                  <c:v>0.1002</c:v>
                </c:pt>
                <c:pt idx="6">
                  <c:v>0.18210000000000001</c:v>
                </c:pt>
                <c:pt idx="7">
                  <c:v>0.54430000000000001</c:v>
                </c:pt>
                <c:pt idx="8">
                  <c:v>0.1734</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5">
                  <c:v>5.45E-2</c:v>
                </c:pt>
                <c:pt idx="7">
                  <c:v>0.54159999999999997</c:v>
                </c:pt>
                <c:pt idx="8">
                  <c:v>0.40389999999999998</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0">
                  <c:v>2.5868389677583283E-2</c:v>
                </c:pt>
                <c:pt idx="5">
                  <c:v>0.19169286461894813</c:v>
                </c:pt>
                <c:pt idx="6">
                  <c:v>0.11599486896786584</c:v>
                </c:pt>
                <c:pt idx="7">
                  <c:v>0.18203217707627592</c:v>
                </c:pt>
                <c:pt idx="8">
                  <c:v>0.4844116996593268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Yopro</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B$2:$B$10</c:f>
              <c:numCache>
                <c:formatCode>General</c:formatCode>
                <c:ptCount val="9"/>
                <c:pt idx="5">
                  <c:v>1.4476858502886877E-2</c:v>
                </c:pt>
                <c:pt idx="7">
                  <c:v>0.14394006871353443</c:v>
                </c:pt>
                <c:pt idx="8">
                  <c:v>0.107336442669112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C$2:$C$10</c:f>
              <c:numCache>
                <c:formatCode>General</c:formatCode>
                <c:ptCount val="9"/>
                <c:pt idx="0">
                  <c:v>2.5706782169624624E-2</c:v>
                </c:pt>
                <c:pt idx="5">
                  <c:v>9.074076763416436E-2</c:v>
                </c:pt>
                <c:pt idx="6">
                  <c:v>4.3129924607013233E-3</c:v>
                </c:pt>
                <c:pt idx="7">
                  <c:v>2.1299812108483116E-2</c:v>
                </c:pt>
                <c:pt idx="8">
                  <c:v>0.2426449822073779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Danone</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D$2:$D$10</c:f>
              <c:numCache>
                <c:formatCode>General</c:formatCode>
                <c:ptCount val="9"/>
                <c:pt idx="5">
                  <c:v>4.7531525233104346E-2</c:v>
                </c:pt>
                <c:pt idx="6">
                  <c:v>0.10674451864656821</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Valio Profeel</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E$2:$E$10</c:f>
              <c:numCache>
                <c:formatCode>General</c:formatCode>
                <c:ptCount val="9"/>
                <c:pt idx="8">
                  <c:v>7.537469322575715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F$2:$F$10</c:f>
              <c:numCache>
                <c:formatCode>General</c:formatCode>
                <c:ptCount val="9"/>
                <c:pt idx="0">
                  <c:v>1.616075079586578E-4</c:v>
                </c:pt>
                <c:pt idx="5">
                  <c:v>3.8943713248792533E-2</c:v>
                </c:pt>
                <c:pt idx="6">
                  <c:v>4.937357860596305E-3</c:v>
                </c:pt>
                <c:pt idx="7">
                  <c:v>1.6792296254258383E-2</c:v>
                </c:pt>
                <c:pt idx="8">
                  <c:v>5.9055581557079476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5">
                  <c:v>4.4499999999999998E-2</c:v>
                </c:pt>
                <c:pt idx="7">
                  <c:v>0.625</c:v>
                </c:pt>
                <c:pt idx="8">
                  <c:v>0.3305000000000000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5">
                  <c:v>0.13706108369278397</c:v>
                </c:pt>
                <c:pt idx="6">
                  <c:v>0.20961550239783658</c:v>
                </c:pt>
                <c:pt idx="7">
                  <c:v>0.25059694288150702</c:v>
                </c:pt>
                <c:pt idx="8">
                  <c:v>0.40272647102787246</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Yopro</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B$2:$B$10</c:f>
              <c:numCache>
                <c:formatCode>General</c:formatCode>
                <c:ptCount val="9"/>
                <c:pt idx="5">
                  <c:v>1.1974834815464878E-2</c:v>
                </c:pt>
                <c:pt idx="7">
                  <c:v>0.16822460728118269</c:v>
                </c:pt>
                <c:pt idx="8">
                  <c:v>8.8940741721071456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Danone</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C$2:$C$10</c:f>
              <c:numCache>
                <c:formatCode>General</c:formatCode>
                <c:ptCount val="9"/>
                <c:pt idx="5">
                  <c:v>9.7150392772354793E-2</c:v>
                </c:pt>
                <c:pt idx="6">
                  <c:v>0.2096155023978365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Valio Profeel</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D$2:$D$10</c:f>
              <c:numCache>
                <c:formatCode>General</c:formatCode>
                <c:ptCount val="9"/>
                <c:pt idx="8">
                  <c:v>0.192083049049324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Reina</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E$2:$E$10</c:f>
              <c:numCache>
                <c:formatCode>General</c:formatCode>
                <c:ptCount val="9"/>
                <c:pt idx="5">
                  <c:v>2.7935856104964296E-2</c:v>
                </c:pt>
                <c:pt idx="7">
                  <c:v>5.8664227070861781E-2</c:v>
                </c:pt>
                <c:pt idx="8">
                  <c:v>8.291070848072201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F$2:$F$10</c:f>
              <c:numCache>
                <c:formatCode>General</c:formatCode>
                <c:ptCount val="9"/>
                <c:pt idx="7">
                  <c:v>2.3708108529462531E-2</c:v>
                </c:pt>
                <c:pt idx="8">
                  <c:v>3.8791971776754711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5">
                  <c:v>7.6899999999999996E-2</c:v>
                </c:pt>
                <c:pt idx="7">
                  <c:v>0.56799999999999995</c:v>
                </c:pt>
                <c:pt idx="8">
                  <c:v>0.3551000000000000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5">
                  <c:v>0.14546569507154494</c:v>
                </c:pt>
                <c:pt idx="6">
                  <c:v>0.13806712554745951</c:v>
                </c:pt>
                <c:pt idx="7">
                  <c:v>0.25045413407781175</c:v>
                </c:pt>
                <c:pt idx="8">
                  <c:v>0.4660130453031837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Yopro</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B$2:$B$10</c:f>
              <c:numCache>
                <c:formatCode>General</c:formatCode>
                <c:ptCount val="9"/>
                <c:pt idx="5">
                  <c:v>2.7059385421771328E-2</c:v>
                </c:pt>
                <c:pt idx="7">
                  <c:v>0.19994286665479771</c:v>
                </c:pt>
                <c:pt idx="8">
                  <c:v>0.1250089513802488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Valio Profeel</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C$2:$C$10</c:f>
              <c:numCache>
                <c:formatCode>General</c:formatCode>
                <c:ptCount val="9"/>
                <c:pt idx="8">
                  <c:v>0.1306061015199249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Danone</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D$2:$D$10</c:f>
              <c:numCache>
                <c:formatCode>General</c:formatCode>
                <c:ptCount val="9"/>
                <c:pt idx="5">
                  <c:v>6.1808708334618274E-2</c:v>
                </c:pt>
                <c:pt idx="6">
                  <c:v>0.1294955688832141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E$2:$E$10</c:f>
              <c:numCache>
                <c:formatCode>General</c:formatCode>
                <c:ptCount val="9"/>
                <c:pt idx="7">
                  <c:v>4.7118597128457687E-2</c:v>
                </c:pt>
                <c:pt idx="8">
                  <c:v>0.11077848113239085</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F$2:$F$10</c:f>
              <c:numCache>
                <c:formatCode>General</c:formatCode>
                <c:ptCount val="9"/>
                <c:pt idx="5">
                  <c:v>5.6597601315155358E-2</c:v>
                </c:pt>
                <c:pt idx="6">
                  <c:v>8.5715566642453663E-3</c:v>
                </c:pt>
                <c:pt idx="7">
                  <c:v>3.3926702945563428E-3</c:v>
                </c:pt>
                <c:pt idx="8">
                  <c:v>9.961951127061916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0">
                  <c:v>2.0638368417076565E-2</c:v>
                </c:pt>
                <c:pt idx="5">
                  <c:v>0.15293677002086345</c:v>
                </c:pt>
                <c:pt idx="6">
                  <c:v>0.12070121453309683</c:v>
                </c:pt>
                <c:pt idx="7">
                  <c:v>0.31148388314378261</c:v>
                </c:pt>
                <c:pt idx="8">
                  <c:v>0.3942397638851805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Danone Group</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B$2:$B$10</c:f>
              <c:numCache>
                <c:formatCode>General</c:formatCode>
                <c:ptCount val="9"/>
                <c:pt idx="5">
                  <c:v>4.9493396027156716E-2</c:v>
                </c:pt>
                <c:pt idx="6">
                  <c:v>8.9926582430641652E-2</c:v>
                </c:pt>
                <c:pt idx="7">
                  <c:v>0.26880991285975508</c:v>
                </c:pt>
                <c:pt idx="8">
                  <c:v>8.5635367179551128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C$2:$C$10</c:f>
              <c:numCache>
                <c:formatCode>General</c:formatCode>
                <c:ptCount val="9"/>
                <c:pt idx="0">
                  <c:v>2.0509434404183343E-2</c:v>
                </c:pt>
                <c:pt idx="5">
                  <c:v>7.239497379711575E-2</c:v>
                </c:pt>
                <c:pt idx="6">
                  <c:v>2.3686419489610398E-2</c:v>
                </c:pt>
                <c:pt idx="7">
                  <c:v>1.6993457072061988E-2</c:v>
                </c:pt>
                <c:pt idx="8">
                  <c:v>0.2013529762671455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Ot. Marcas</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D$2:$D$10</c:f>
              <c:numCache>
                <c:formatCode>General</c:formatCode>
                <c:ptCount val="9"/>
                <c:pt idx="0">
                  <c:v>1.2893401289322195E-4</c:v>
                </c:pt>
                <c:pt idx="5">
                  <c:v>2.5195033117521121E-5</c:v>
                </c:pt>
                <c:pt idx="6">
                  <c:v>6.0467979857562288E-3</c:v>
                </c:pt>
                <c:pt idx="8">
                  <c:v>7.318027378941377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Reina</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E$2:$E$10</c:f>
              <c:numCache>
                <c:formatCode>General</c:formatCode>
                <c:ptCount val="9"/>
                <c:pt idx="5">
                  <c:v>2.5446345851970541E-2</c:v>
                </c:pt>
                <c:pt idx="7">
                  <c:v>1.2734888765821651E-2</c:v>
                </c:pt>
                <c:pt idx="8">
                  <c:v>1.328895035808378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F$2:$F$10</c:f>
              <c:numCache>
                <c:formatCode>General</c:formatCode>
                <c:ptCount val="9"/>
                <c:pt idx="5">
                  <c:v>5.5768593115029311E-3</c:v>
                </c:pt>
                <c:pt idx="6">
                  <c:v>1.0414146270885539E-3</c:v>
                </c:pt>
                <c:pt idx="7">
                  <c:v>1.2945624446143883E-2</c:v>
                </c:pt>
                <c:pt idx="8">
                  <c:v>2.0782196290986276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5">
                  <c:v>0.14230000000000001</c:v>
                </c:pt>
                <c:pt idx="6">
                  <c:v>0.28299999999999997</c:v>
                </c:pt>
                <c:pt idx="7">
                  <c:v>0.45879999999999999</c:v>
                </c:pt>
                <c:pt idx="8">
                  <c:v>0.1160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5">
                  <c:v>0.10511061492002367</c:v>
                </c:pt>
                <c:pt idx="6">
                  <c:v>0.21174527660463402</c:v>
                </c:pt>
                <c:pt idx="7">
                  <c:v>0.37429767392362556</c:v>
                </c:pt>
                <c:pt idx="8">
                  <c:v>0.3088464345517167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Danone Group</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B$2:$B$10</c:f>
              <c:numCache>
                <c:formatCode>General</c:formatCode>
                <c:ptCount val="9"/>
                <c:pt idx="5">
                  <c:v>8.3686918751884526E-2</c:v>
                </c:pt>
                <c:pt idx="6">
                  <c:v>0.16641211144197815</c:v>
                </c:pt>
                <c:pt idx="7">
                  <c:v>0.26979076545905667</c:v>
                </c:pt>
                <c:pt idx="8">
                  <c:v>6.8207661882342271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Ot. Marcas</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C$2:$C$10</c:f>
              <c:numCache>
                <c:formatCode>General</c:formatCode>
                <c:ptCount val="9"/>
                <c:pt idx="6">
                  <c:v>4.5333165162655863E-2</c:v>
                </c:pt>
                <c:pt idx="8">
                  <c:v>0.1473063458810993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Reina</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D$2:$D$10</c:f>
              <c:numCache>
                <c:formatCode>General</c:formatCode>
                <c:ptCount val="9"/>
                <c:pt idx="5">
                  <c:v>2.1423696168139144E-2</c:v>
                </c:pt>
                <c:pt idx="7">
                  <c:v>4.4988940807206113E-2</c:v>
                </c:pt>
                <c:pt idx="8">
                  <c:v>6.3583296710226819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Nestle</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E$2:$E$10</c:f>
              <c:numCache>
                <c:formatCode>General</c:formatCode>
                <c:ptCount val="9"/>
                <c:pt idx="7">
                  <c:v>4.1336483905869088E-2</c:v>
                </c:pt>
                <c:pt idx="8">
                  <c:v>2.974913007804827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F$2:$F$10</c:f>
              <c:numCache>
                <c:formatCode>General</c:formatCode>
                <c:ptCount val="9"/>
                <c:pt idx="7">
                  <c:v>1.8181483751493664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5">
                  <c:v>0.11609999999999999</c:v>
                </c:pt>
                <c:pt idx="6">
                  <c:v>0.17879999999999999</c:v>
                </c:pt>
                <c:pt idx="7">
                  <c:v>0.54169999999999996</c:v>
                </c:pt>
                <c:pt idx="8">
                  <c:v>0.163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5">
                  <c:v>0.10793606903096596</c:v>
                </c:pt>
                <c:pt idx="6">
                  <c:v>0.17753998986512773</c:v>
                </c:pt>
                <c:pt idx="7">
                  <c:v>0.36874058508697005</c:v>
                </c:pt>
                <c:pt idx="8">
                  <c:v>0.3457833560169362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Danone Group</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B$2:$B$10</c:f>
              <c:numCache>
                <c:formatCode>General</c:formatCode>
                <c:ptCount val="9"/>
                <c:pt idx="5">
                  <c:v>6.5945508845323214E-2</c:v>
                </c:pt>
                <c:pt idx="6">
                  <c:v>0.10155081748782079</c:v>
                </c:pt>
                <c:pt idx="7">
                  <c:v>0.30760651262327438</c:v>
                </c:pt>
                <c:pt idx="8">
                  <c:v>9.2757091622398702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Ot. Marcas</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C$2:$C$10</c:f>
              <c:numCache>
                <c:formatCode>General</c:formatCode>
                <c:ptCount val="9"/>
                <c:pt idx="6">
                  <c:v>1.5454205978395262E-3</c:v>
                </c:pt>
                <c:pt idx="8">
                  <c:v>9.6910197160825662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D$2:$D$10</c:f>
              <c:numCache>
                <c:formatCode>General</c:formatCode>
                <c:ptCount val="9"/>
                <c:pt idx="6">
                  <c:v>6.9629046497732466E-2</c:v>
                </c:pt>
                <c:pt idx="7">
                  <c:v>3.4962168570384353E-2</c:v>
                </c:pt>
                <c:pt idx="8">
                  <c:v>8.2198031506812971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Nestle</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E$2:$E$10</c:f>
              <c:numCache>
                <c:formatCode>General</c:formatCode>
                <c:ptCount val="9"/>
                <c:pt idx="6">
                  <c:v>4.8147052817349633E-3</c:v>
                </c:pt>
                <c:pt idx="7">
                  <c:v>2.3654530330201214E-2</c:v>
                </c:pt>
                <c:pt idx="8">
                  <c:v>4.018016639086123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F$2:$F$10</c:f>
              <c:numCache>
                <c:formatCode>General</c:formatCode>
                <c:ptCount val="9"/>
                <c:pt idx="5">
                  <c:v>4.1990560185642761E-2</c:v>
                </c:pt>
                <c:pt idx="7">
                  <c:v>2.5173735631100905E-3</c:v>
                </c:pt>
                <c:pt idx="8">
                  <c:v>3.3737869336037674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6">
                  <c:v>0.03</c:v>
                </c:pt>
                <c:pt idx="7">
                  <c:v>0.97</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0">
                  <c:v>0.3073647980009151</c:v>
                </c:pt>
                <c:pt idx="1">
                  <c:v>3.6356005758039871E-3</c:v>
                </c:pt>
                <c:pt idx="2">
                  <c:v>0.10492213693967521</c:v>
                </c:pt>
                <c:pt idx="3">
                  <c:v>2.8592086051531336E-3</c:v>
                </c:pt>
                <c:pt idx="4">
                  <c:v>5.0656583762123036E-2</c:v>
                </c:pt>
                <c:pt idx="5">
                  <c:v>0.3146327083996952</c:v>
                </c:pt>
                <c:pt idx="6">
                  <c:v>0.10365221516858251</c:v>
                </c:pt>
                <c:pt idx="7">
                  <c:v>6.3038683381357249E-2</c:v>
                </c:pt>
                <c:pt idx="8">
                  <c:v>4.9238065166694586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6">
                  <c:v>0.13927308811356887</c:v>
                </c:pt>
                <c:pt idx="7">
                  <c:v>0.82231775340255508</c:v>
                </c:pt>
                <c:pt idx="8">
                  <c:v>3.840915848387608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Danone Group</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B$2:$B$10</c:f>
              <c:numCache>
                <c:formatCode>General</c:formatCode>
                <c:ptCount val="9"/>
                <c:pt idx="6">
                  <c:v>2.3560740620362241E-2</c:v>
                </c:pt>
                <c:pt idx="7">
                  <c:v>0.761563138765943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C$2:$C$10</c:f>
              <c:numCache>
                <c:formatCode>General</c:formatCode>
                <c:ptCount val="9"/>
                <c:pt idx="6">
                  <c:v>0.10013657229171125</c:v>
                </c:pt>
                <c:pt idx="8">
                  <c:v>3.8409158483876084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Nestle</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D$2:$D$10</c:f>
              <c:numCache>
                <c:formatCode>General</c:formatCode>
                <c:ptCount val="9"/>
                <c:pt idx="7">
                  <c:v>6.0754614636611567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Ot. Marcas</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E$2:$E$10</c:f>
              <c:numCache>
                <c:formatCode>General</c:formatCode>
                <c:ptCount val="9"/>
                <c:pt idx="6">
                  <c:v>1.557577520149537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F$2:$F$10</c:f>
              <c:numCache>
                <c:formatCode>General</c:formatCode>
                <c:ptCount val="9"/>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6">
                  <c:v>3.8699999999999998E-2</c:v>
                </c:pt>
                <c:pt idx="7">
                  <c:v>0.96130000000000004</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6">
                  <c:v>0.21875180530721572</c:v>
                </c:pt>
                <c:pt idx="7">
                  <c:v>0.78124819469278428</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Danone Group</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B$2:$B$10</c:f>
              <c:numCache>
                <c:formatCode>General</c:formatCode>
                <c:ptCount val="9"/>
                <c:pt idx="6">
                  <c:v>2.4281646242917912E-2</c:v>
                </c:pt>
                <c:pt idx="7">
                  <c:v>0.60392299422442597</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Ot. Marcas</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C$2:$C$10</c:f>
              <c:numCache>
                <c:formatCode>General</c:formatCode>
                <c:ptCount val="9"/>
                <c:pt idx="6">
                  <c:v>0.1944701590642978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Nestle</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D$2:$D$10</c:f>
              <c:numCache>
                <c:formatCode>General</c:formatCode>
                <c:ptCount val="9"/>
                <c:pt idx="7">
                  <c:v>0.1773252004683583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Others</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E$2:$E$10</c:f>
              <c:numCache>
                <c:formatCode>General</c:formatCode>
                <c:ptCount val="9"/>
              </c:numCache>
            </c:numRef>
          </c:val>
          <c:extLst>
            <c:ext xmlns:c16="http://schemas.microsoft.com/office/drawing/2014/chart" uri="{C3380CC4-5D6E-409C-BE32-E72D297353CC}">
              <c16:uniqueId val="{00000009-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6">
                  <c:v>3.32E-2</c:v>
                </c:pt>
                <c:pt idx="7">
                  <c:v>0.9667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6">
                  <c:v>0.29106485694573947</c:v>
                </c:pt>
                <c:pt idx="7">
                  <c:v>0.7089351430542606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Danone Group</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B$2:$B$10</c:f>
              <c:numCache>
                <c:formatCode>General</c:formatCode>
                <c:ptCount val="9"/>
                <c:pt idx="6">
                  <c:v>2.118106873506112E-2</c:v>
                </c:pt>
                <c:pt idx="7">
                  <c:v>0.61724963858498727</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C$2:$C$10</c:f>
              <c:numCache>
                <c:formatCode>General</c:formatCode>
                <c:ptCount val="9"/>
                <c:pt idx="6">
                  <c:v>0.2698837882106783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Nestle</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D$2:$D$10</c:f>
              <c:numCache>
                <c:formatCode>General</c:formatCode>
                <c:ptCount val="9"/>
                <c:pt idx="7">
                  <c:v>9.168550446927333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Others</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E$2:$E$10</c:f>
              <c:numCache>
                <c:formatCode>General</c:formatCode>
                <c:ptCount val="9"/>
              </c:numCache>
            </c:numRef>
          </c:val>
          <c:extLst>
            <c:ext xmlns:c16="http://schemas.microsoft.com/office/drawing/2014/chart" uri="{C3380CC4-5D6E-409C-BE32-E72D297353CC}">
              <c16:uniqueId val="{00000009-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5">
                  <c:v>0.1477</c:v>
                </c:pt>
                <c:pt idx="6">
                  <c:v>0.25409999999999999</c:v>
                </c:pt>
                <c:pt idx="7">
                  <c:v>0.3427</c:v>
                </c:pt>
                <c:pt idx="8">
                  <c:v>0.2555</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0">
                  <c:v>2.5868389677583283E-2</c:v>
                </c:pt>
                <c:pt idx="5">
                  <c:v>0.19169286461894811</c:v>
                </c:pt>
                <c:pt idx="6">
                  <c:v>0.11599486896786584</c:v>
                </c:pt>
                <c:pt idx="7">
                  <c:v>0.18203217707627592</c:v>
                </c:pt>
                <c:pt idx="8">
                  <c:v>0.4844116996593268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Danone Group</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B$2:$B$10</c:f>
              <c:numCache>
                <c:formatCode>General</c:formatCode>
                <c:ptCount val="9"/>
                <c:pt idx="0">
                  <c:v>0.13305860813477688</c:v>
                </c:pt>
                <c:pt idx="1">
                  <c:v>2.0053437375121552E-3</c:v>
                </c:pt>
                <c:pt idx="2">
                  <c:v>8.1271977747179158E-3</c:v>
                </c:pt>
                <c:pt idx="3">
                  <c:v>9.4697923102985274E-9</c:v>
                </c:pt>
                <c:pt idx="4">
                  <c:v>3.6235544738857151E-2</c:v>
                </c:pt>
                <c:pt idx="5">
                  <c:v>0.13260068738391964</c:v>
                </c:pt>
                <c:pt idx="6">
                  <c:v>7.6569856543215839E-2</c:v>
                </c:pt>
                <c:pt idx="7">
                  <c:v>4.1138751195434357E-2</c:v>
                </c:pt>
                <c:pt idx="8">
                  <c:v>8.9066874196533832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C$2:$C$10</c:f>
              <c:numCache>
                <c:formatCode>General</c:formatCode>
                <c:ptCount val="9"/>
                <c:pt idx="0">
                  <c:v>0.16215164830392129</c:v>
                </c:pt>
                <c:pt idx="1">
                  <c:v>1.1065199786788888E-3</c:v>
                </c:pt>
                <c:pt idx="2">
                  <c:v>9.4492217117823546E-2</c:v>
                </c:pt>
                <c:pt idx="3">
                  <c:v>2.6542228503065477E-3</c:v>
                </c:pt>
                <c:pt idx="4">
                  <c:v>1.1838114239263571E-2</c:v>
                </c:pt>
                <c:pt idx="5">
                  <c:v>0.12679376391638261</c:v>
                </c:pt>
                <c:pt idx="6">
                  <c:v>1.208070401327478E-2</c:v>
                </c:pt>
                <c:pt idx="7">
                  <c:v>9.0361626289163673E-3</c:v>
                </c:pt>
                <c:pt idx="8">
                  <c:v>2.1354583155859561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a Fageda</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D$2:$D$10</c:f>
              <c:numCache>
                <c:formatCode>General</c:formatCode>
                <c:ptCount val="9"/>
                <c:pt idx="0">
                  <c:v>5.1135300176893668E-5</c:v>
                </c:pt>
                <c:pt idx="3">
                  <c:v>5.2512628858469308E-5</c:v>
                </c:pt>
                <c:pt idx="5">
                  <c:v>1.5578547520340855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El Pastoret</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E$2:$E$10</c:f>
              <c:numCache>
                <c:formatCode>General</c:formatCode>
                <c:ptCount val="9"/>
                <c:pt idx="0">
                  <c:v>2.3484821879753953E-4</c:v>
                </c:pt>
                <c:pt idx="5">
                  <c:v>1.2292730558704073E-2</c:v>
                </c:pt>
                <c:pt idx="7">
                  <c:v>1.730609805702784E-4</c:v>
                </c:pt>
                <c:pt idx="8">
                  <c:v>3.6978065892911928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F$2:$F$10</c:f>
              <c:numCache>
                <c:formatCode>General</c:formatCode>
                <c:ptCount val="9"/>
                <c:pt idx="0">
                  <c:v>1.1868558043242463E-2</c:v>
                </c:pt>
                <c:pt idx="1">
                  <c:v>5.2373685961294323E-4</c:v>
                </c:pt>
                <c:pt idx="2">
                  <c:v>2.3027220471337415E-3</c:v>
                </c:pt>
                <c:pt idx="3">
                  <c:v>1.524636561958063E-4</c:v>
                </c:pt>
                <c:pt idx="4">
                  <c:v>2.5829247840023105E-3</c:v>
                </c:pt>
                <c:pt idx="5">
                  <c:v>2.7366979020348018E-2</c:v>
                </c:pt>
                <c:pt idx="6">
                  <c:v>1.5001654612091915E-2</c:v>
                </c:pt>
                <c:pt idx="7">
                  <c:v>1.2690708576436251E-2</c:v>
                </c:pt>
                <c:pt idx="8">
                  <c:v>1.5278988001890462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Danone Group</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B$2:$B$10</c:f>
              <c:numCache>
                <c:formatCode>General</c:formatCode>
                <c:ptCount val="9"/>
                <c:pt idx="5">
                  <c:v>6.2035642984165675E-2</c:v>
                </c:pt>
                <c:pt idx="6">
                  <c:v>0.10674451864656821</c:v>
                </c:pt>
                <c:pt idx="7">
                  <c:v>0.14394006871353443</c:v>
                </c:pt>
                <c:pt idx="8">
                  <c:v>0.107336442669112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C$2:$C$10</c:f>
              <c:numCache>
                <c:formatCode>General</c:formatCode>
                <c:ptCount val="9"/>
                <c:pt idx="0">
                  <c:v>2.5706782169624624E-2</c:v>
                </c:pt>
                <c:pt idx="5">
                  <c:v>9.074076763416436E-2</c:v>
                </c:pt>
                <c:pt idx="6">
                  <c:v>4.3129924607013233E-3</c:v>
                </c:pt>
                <c:pt idx="7">
                  <c:v>2.1299812108483116E-2</c:v>
                </c:pt>
                <c:pt idx="8">
                  <c:v>0.2426449822073779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Ot. Marcas</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D$2:$D$10</c:f>
              <c:numCache>
                <c:formatCode>General</c:formatCode>
                <c:ptCount val="9"/>
                <c:pt idx="0">
                  <c:v>1.616075079586578E-4</c:v>
                </c:pt>
                <c:pt idx="5">
                  <c:v>3.1579770331281528E-5</c:v>
                </c:pt>
                <c:pt idx="6">
                  <c:v>3.6320357127868214E-3</c:v>
                </c:pt>
                <c:pt idx="8">
                  <c:v>9.1725072488309703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Reina</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E$2:$E$10</c:f>
              <c:numCache>
                <c:formatCode>General</c:formatCode>
                <c:ptCount val="9"/>
                <c:pt idx="5">
                  <c:v>3.1894768862865915E-2</c:v>
                </c:pt>
                <c:pt idx="7">
                  <c:v>1.5962069211942879E-2</c:v>
                </c:pt>
                <c:pt idx="8">
                  <c:v>1.665653695689116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F$2:$F$10</c:f>
              <c:numCache>
                <c:formatCode>General</c:formatCode>
                <c:ptCount val="9"/>
                <c:pt idx="5">
                  <c:v>6.9901053674208879E-3</c:v>
                </c:pt>
                <c:pt idx="6">
                  <c:v>1.3053221478094834E-3</c:v>
                </c:pt>
                <c:pt idx="7">
                  <c:v>8.3022704231550614E-4</c:v>
                </c:pt>
                <c:pt idx="8">
                  <c:v>2.6048665337635758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5">
                  <c:v>0.1895</c:v>
                </c:pt>
                <c:pt idx="6">
                  <c:v>0.36399999999999999</c:v>
                </c:pt>
                <c:pt idx="7">
                  <c:v>0.29210000000000003</c:v>
                </c:pt>
                <c:pt idx="8">
                  <c:v>0.1544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5">
                  <c:v>0.13706108369278397</c:v>
                </c:pt>
                <c:pt idx="6">
                  <c:v>0.20961550239783658</c:v>
                </c:pt>
                <c:pt idx="7">
                  <c:v>0.25059694288150702</c:v>
                </c:pt>
                <c:pt idx="8">
                  <c:v>0.40272647102787246</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Danone Group</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B$2:$B$10</c:f>
              <c:numCache>
                <c:formatCode>General</c:formatCode>
                <c:ptCount val="9"/>
                <c:pt idx="5">
                  <c:v>0.10912522758781967</c:v>
                </c:pt>
                <c:pt idx="6">
                  <c:v>0.20961550239783658</c:v>
                </c:pt>
                <c:pt idx="7">
                  <c:v>0.16822460728118269</c:v>
                </c:pt>
                <c:pt idx="8">
                  <c:v>8.8940741721071456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Ot. Marcas</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C$2:$C$10</c:f>
              <c:numCache>
                <c:formatCode>General</c:formatCode>
                <c:ptCount val="9"/>
                <c:pt idx="8">
                  <c:v>0.192083049049324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Reina</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D$2:$D$10</c:f>
              <c:numCache>
                <c:formatCode>General</c:formatCode>
                <c:ptCount val="9"/>
                <c:pt idx="5">
                  <c:v>2.7935856104964296E-2</c:v>
                </c:pt>
                <c:pt idx="7">
                  <c:v>5.8664227070861781E-2</c:v>
                </c:pt>
                <c:pt idx="8">
                  <c:v>8.2910708480722017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Nestle</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E$2:$E$10</c:f>
              <c:numCache>
                <c:formatCode>General</c:formatCode>
                <c:ptCount val="9"/>
                <c:pt idx="8">
                  <c:v>3.879197177675471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F$2:$F$10</c:f>
              <c:numCache>
                <c:formatCode>General</c:formatCode>
                <c:ptCount val="9"/>
                <c:pt idx="7">
                  <c:v>2.3708108529462531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5">
                  <c:v>0.1636</c:v>
                </c:pt>
                <c:pt idx="6">
                  <c:v>0.23830000000000001</c:v>
                </c:pt>
                <c:pt idx="7">
                  <c:v>0.36799999999999999</c:v>
                </c:pt>
                <c:pt idx="8">
                  <c:v>0.23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5">
                  <c:v>0.14546569507154494</c:v>
                </c:pt>
                <c:pt idx="6">
                  <c:v>0.13806712554745951</c:v>
                </c:pt>
                <c:pt idx="7">
                  <c:v>0.25045413407781175</c:v>
                </c:pt>
                <c:pt idx="8">
                  <c:v>0.46601304530318377</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Danone Group</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B$2:$B$10</c:f>
              <c:numCache>
                <c:formatCode>General</c:formatCode>
                <c:ptCount val="9"/>
                <c:pt idx="5">
                  <c:v>8.8874917969076303E-2</c:v>
                </c:pt>
                <c:pt idx="6">
                  <c:v>0.12949556888321415</c:v>
                </c:pt>
                <c:pt idx="7">
                  <c:v>0.19994286665479771</c:v>
                </c:pt>
                <c:pt idx="8">
                  <c:v>0.1250089513802488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Ot. Marcas</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C$2:$C$10</c:f>
              <c:numCache>
                <c:formatCode>General</c:formatCode>
                <c:ptCount val="9"/>
                <c:pt idx="6">
                  <c:v>2.0827669884671668E-3</c:v>
                </c:pt>
                <c:pt idx="8">
                  <c:v>0.1306061015199249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D$2:$D$10</c:f>
              <c:numCache>
                <c:formatCode>General</c:formatCode>
                <c:ptCount val="9"/>
                <c:pt idx="7">
                  <c:v>4.7118597128457687E-2</c:v>
                </c:pt>
                <c:pt idx="8">
                  <c:v>0.1107784811323908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Nestle</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E$2:$E$10</c:f>
              <c:numCache>
                <c:formatCode>General</c:formatCode>
                <c:ptCount val="9"/>
                <c:pt idx="6">
                  <c:v>6.4887896757781999E-3</c:v>
                </c:pt>
                <c:pt idx="8">
                  <c:v>5.415090511087747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F$2:$F$10</c:f>
              <c:numCache>
                <c:formatCode>General</c:formatCode>
                <c:ptCount val="9"/>
                <c:pt idx="5">
                  <c:v>5.6590777102468667E-2</c:v>
                </c:pt>
                <c:pt idx="7">
                  <c:v>3.3926702945563428E-3</c:v>
                </c:pt>
                <c:pt idx="8">
                  <c:v>4.5468606159741687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0">
                  <c:v>0.35849999999999999</c:v>
                </c:pt>
                <c:pt idx="4">
                  <c:v>2.93E-2</c:v>
                </c:pt>
                <c:pt idx="5">
                  <c:v>0.5071</c:v>
                </c:pt>
                <c:pt idx="6">
                  <c:v>6.2600000000000003E-2</c:v>
                </c:pt>
                <c:pt idx="7">
                  <c:v>3.9100000000000003E-2</c:v>
                </c:pt>
                <c:pt idx="8">
                  <c:v>3.3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0">
                  <c:v>0.30736479800091504</c:v>
                </c:pt>
                <c:pt idx="1">
                  <c:v>3.6356005758039879E-3</c:v>
                </c:pt>
                <c:pt idx="2">
                  <c:v>0.10492213693967518</c:v>
                </c:pt>
                <c:pt idx="3">
                  <c:v>2.8592086051531336E-3</c:v>
                </c:pt>
                <c:pt idx="4">
                  <c:v>5.0656583762123029E-2</c:v>
                </c:pt>
                <c:pt idx="5">
                  <c:v>0.31463270839969526</c:v>
                </c:pt>
                <c:pt idx="6">
                  <c:v>0.10365221516858254</c:v>
                </c:pt>
                <c:pt idx="7">
                  <c:v>6.3038683381357249E-2</c:v>
                </c:pt>
                <c:pt idx="8">
                  <c:v>4.9238065166694607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Danon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B$2:$B$10</c:f>
              <c:numCache>
                <c:formatCode>General</c:formatCode>
                <c:ptCount val="9"/>
                <c:pt idx="0">
                  <c:v>2.5750085637304736E-2</c:v>
                </c:pt>
                <c:pt idx="4">
                  <c:v>2.1024922324252167E-3</c:v>
                </c:pt>
                <c:pt idx="5">
                  <c:v>3.6422261159938879E-2</c:v>
                </c:pt>
                <c:pt idx="6">
                  <c:v>4.4973159012702034E-3</c:v>
                </c:pt>
                <c:pt idx="7">
                  <c:v>2.8102450440127351E-3</c:v>
                </c:pt>
                <c:pt idx="8">
                  <c:v>2.4009185323958093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C$2:$C$10</c:f>
              <c:numCache>
                <c:formatCode>General</c:formatCode>
                <c:ptCount val="9"/>
                <c:pt idx="0">
                  <c:v>0.16215164830392129</c:v>
                </c:pt>
                <c:pt idx="1">
                  <c:v>1.1065199786788888E-3</c:v>
                </c:pt>
                <c:pt idx="2">
                  <c:v>9.4492217117823546E-2</c:v>
                </c:pt>
                <c:pt idx="3">
                  <c:v>2.6542228503065477E-3</c:v>
                </c:pt>
                <c:pt idx="4">
                  <c:v>1.1838114239263571E-2</c:v>
                </c:pt>
                <c:pt idx="5">
                  <c:v>0.12679376391638261</c:v>
                </c:pt>
                <c:pt idx="6">
                  <c:v>1.208070401327478E-2</c:v>
                </c:pt>
                <c:pt idx="7">
                  <c:v>9.0361626289163673E-3</c:v>
                </c:pt>
                <c:pt idx="8">
                  <c:v>2.1354583155859561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ctivia</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D$2:$D$10</c:f>
              <c:numCache>
                <c:formatCode>General</c:formatCode>
                <c:ptCount val="9"/>
                <c:pt idx="0">
                  <c:v>3.6436797817234759E-2</c:v>
                </c:pt>
                <c:pt idx="1">
                  <c:v>8.3380258653203835E-4</c:v>
                </c:pt>
                <c:pt idx="2">
                  <c:v>1.0521991455887253E-9</c:v>
                </c:pt>
                <c:pt idx="3">
                  <c:v>9.4697923102985274E-9</c:v>
                </c:pt>
                <c:pt idx="4">
                  <c:v>2.5252779494129409E-8</c:v>
                </c:pt>
                <c:pt idx="5">
                  <c:v>8.0674964686868272E-2</c:v>
                </c:pt>
                <c:pt idx="6">
                  <c:v>1.1551694583743291E-3</c:v>
                </c:pt>
                <c:pt idx="7">
                  <c:v>2.3967591891732973E-3</c:v>
                </c:pt>
                <c:pt idx="8">
                  <c:v>1.0240738624271388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Danacol</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E$2:$E$10</c:f>
              <c:numCache>
                <c:formatCode>General</c:formatCode>
                <c:ptCount val="9"/>
                <c:pt idx="0">
                  <c:v>3.6094288581860583E-2</c:v>
                </c:pt>
                <c:pt idx="2">
                  <c:v>2.1511196159385996E-3</c:v>
                </c:pt>
                <c:pt idx="4">
                  <c:v>1.425684492489547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F$2:$F$10</c:f>
              <c:numCache>
                <c:formatCode>General</c:formatCode>
                <c:ptCount val="9"/>
                <c:pt idx="0">
                  <c:v>4.6931977660593691E-2</c:v>
                </c:pt>
                <c:pt idx="1">
                  <c:v>1.6952780105930602E-3</c:v>
                </c:pt>
                <c:pt idx="2">
                  <c:v>8.278799153713913E-3</c:v>
                </c:pt>
                <c:pt idx="3">
                  <c:v>2.0497628505427562E-4</c:v>
                </c:pt>
                <c:pt idx="4">
                  <c:v>2.245910711275927E-2</c:v>
                </c:pt>
                <c:pt idx="5">
                  <c:v>7.0741718636505441E-2</c:v>
                </c:pt>
                <c:pt idx="6">
                  <c:v>8.5919025795663226E-2</c:v>
                </c:pt>
                <c:pt idx="7">
                  <c:v>4.8795516519254852E-2</c:v>
                </c:pt>
                <c:pt idx="8">
                  <c:v>2.7540982771352744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0">
                  <c:v>0.29799999999999999</c:v>
                </c:pt>
                <c:pt idx="4">
                  <c:v>0.1009</c:v>
                </c:pt>
                <c:pt idx="5">
                  <c:v>0.36280000000000001</c:v>
                </c:pt>
                <c:pt idx="6">
                  <c:v>0.15409999999999999</c:v>
                </c:pt>
                <c:pt idx="7">
                  <c:v>7.2099999999999997E-2</c:v>
                </c:pt>
                <c:pt idx="8">
                  <c:v>1.21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0">
                  <c:v>0.37369999999999998</c:v>
                </c:pt>
                <c:pt idx="5">
                  <c:v>0.49159999999999998</c:v>
                </c:pt>
                <c:pt idx="6">
                  <c:v>9.6000000000000002E-2</c:v>
                </c:pt>
                <c:pt idx="7">
                  <c:v>3.8699999999999998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0">
                  <c:v>0.30604896386285924</c:v>
                </c:pt>
                <c:pt idx="2">
                  <c:v>7.5676166535280323E-2</c:v>
                </c:pt>
                <c:pt idx="4">
                  <c:v>7.1503739643273917E-2</c:v>
                </c:pt>
                <c:pt idx="5">
                  <c:v>0.35228389469703891</c:v>
                </c:pt>
                <c:pt idx="6">
                  <c:v>0.10590555085749379</c:v>
                </c:pt>
                <c:pt idx="7">
                  <c:v>5.4874860987079714E-2</c:v>
                </c:pt>
                <c:pt idx="8">
                  <c:v>3.3305344123943009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Danon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B$2:$B$10</c:f>
              <c:numCache>
                <c:formatCode>General</c:formatCode>
                <c:ptCount val="9"/>
                <c:pt idx="0">
                  <c:v>4.0371180520103508E-2</c:v>
                </c:pt>
                <c:pt idx="5">
                  <c:v>5.3100737360399393E-2</c:v>
                </c:pt>
                <c:pt idx="6">
                  <c:v>1.0369369636406462E-2</c:v>
                </c:pt>
                <c:pt idx="7">
                  <c:v>4.1766219893740724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ctivia</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C$2:$C$10</c:f>
              <c:numCache>
                <c:formatCode>General</c:formatCode>
                <c:ptCount val="9"/>
                <c:pt idx="0">
                  <c:v>4.4576299509273186E-2</c:v>
                </c:pt>
                <c:pt idx="5">
                  <c:v>0.12212417865343349</c:v>
                </c:pt>
                <c:pt idx="6">
                  <c:v>2.3478137853908108E-3</c:v>
                </c:pt>
                <c:pt idx="7">
                  <c:v>2.2212193067449051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lipende</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D$2:$D$10</c:f>
              <c:numCache>
                <c:formatCode>General</c:formatCode>
                <c:ptCount val="9"/>
                <c:pt idx="0">
                  <c:v>0.1204854634473433</c:v>
                </c:pt>
                <c:pt idx="2">
                  <c:v>7.2318732650067802E-2</c:v>
                </c:pt>
                <c:pt idx="4">
                  <c:v>6.2124095175233353E-3</c:v>
                </c:pt>
                <c:pt idx="5">
                  <c:v>8.6806459034630551E-2</c:v>
                </c:pt>
                <c:pt idx="6">
                  <c:v>7.1375767986199233E-3</c:v>
                </c:pt>
                <c:pt idx="8">
                  <c:v>3.5882489898767002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Actimel</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E$2:$E$10</c:f>
              <c:numCache>
                <c:formatCode>General</c:formatCode>
                <c:ptCount val="9"/>
                <c:pt idx="0">
                  <c:v>4.4692003684651482E-2</c:v>
                </c:pt>
                <c:pt idx="4">
                  <c:v>3.452342666316170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F$2:$F$10</c:f>
              <c:numCache>
                <c:formatCode>General</c:formatCode>
                <c:ptCount val="9"/>
                <c:pt idx="0">
                  <c:v>5.5924016701487736E-2</c:v>
                </c:pt>
                <c:pt idx="2">
                  <c:v>3.3574338852125169E-3</c:v>
                </c:pt>
                <c:pt idx="4">
                  <c:v>3.0767903462588873E-2</c:v>
                </c:pt>
                <c:pt idx="5">
                  <c:v>9.0252519648575419E-2</c:v>
                </c:pt>
                <c:pt idx="6">
                  <c:v>8.6050790637076602E-2</c:v>
                </c:pt>
                <c:pt idx="7">
                  <c:v>4.8477019690960736E-2</c:v>
                </c:pt>
                <c:pt idx="8">
                  <c:v>2.9717095134066306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0">
                  <c:v>0.35420000000000001</c:v>
                </c:pt>
                <c:pt idx="4">
                  <c:v>4.48E-2</c:v>
                </c:pt>
                <c:pt idx="5">
                  <c:v>0.4259</c:v>
                </c:pt>
                <c:pt idx="6">
                  <c:v>0.1012</c:v>
                </c:pt>
                <c:pt idx="7">
                  <c:v>6.6299999999999998E-2</c:v>
                </c:pt>
                <c:pt idx="8">
                  <c:v>7.7000000000000002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0">
                  <c:v>0.2600434541087388</c:v>
                </c:pt>
                <c:pt idx="1">
                  <c:v>7.0580991205419965E-3</c:v>
                </c:pt>
                <c:pt idx="2">
                  <c:v>8.9898446433629292E-2</c:v>
                </c:pt>
                <c:pt idx="3">
                  <c:v>2.4467544986446492E-3</c:v>
                </c:pt>
                <c:pt idx="4">
                  <c:v>7.6630029304030442E-2</c:v>
                </c:pt>
                <c:pt idx="5">
                  <c:v>0.2769461632857162</c:v>
                </c:pt>
                <c:pt idx="6">
                  <c:v>0.15250124407557572</c:v>
                </c:pt>
                <c:pt idx="7">
                  <c:v>7.8885754450299925E-2</c:v>
                </c:pt>
                <c:pt idx="8">
                  <c:v>5.559005472282302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Danon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B$2:$B$10</c:f>
              <c:numCache>
                <c:formatCode>General</c:formatCode>
                <c:ptCount val="9"/>
                <c:pt idx="0">
                  <c:v>2.6436814150023955E-2</c:v>
                </c:pt>
                <c:pt idx="4">
                  <c:v>3.3421206298765369E-3</c:v>
                </c:pt>
                <c:pt idx="5">
                  <c:v>3.1784554310116807E-2</c:v>
                </c:pt>
                <c:pt idx="6">
                  <c:v>7.5561217838610618E-3</c:v>
                </c:pt>
                <c:pt idx="7">
                  <c:v>4.946879888542581E-3</c:v>
                </c:pt>
                <c:pt idx="8">
                  <c:v>5.7106551769455101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C$2:$C$10</c:f>
              <c:numCache>
                <c:formatCode>General</c:formatCode>
                <c:ptCount val="9"/>
                <c:pt idx="0">
                  <c:v>0.12961116915905493</c:v>
                </c:pt>
                <c:pt idx="2">
                  <c:v>6.799790648050362E-2</c:v>
                </c:pt>
                <c:pt idx="3">
                  <c:v>2.218474196152646E-3</c:v>
                </c:pt>
                <c:pt idx="4">
                  <c:v>1.214646620778601E-2</c:v>
                </c:pt>
                <c:pt idx="5">
                  <c:v>7.8333505592983133E-2</c:v>
                </c:pt>
                <c:pt idx="6">
                  <c:v>2.9196850950380462E-2</c:v>
                </c:pt>
                <c:pt idx="7">
                  <c:v>3.9948876844359115E-3</c:v>
                </c:pt>
                <c:pt idx="8">
                  <c:v>9.337938773012165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ctivia</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D$2:$D$10</c:f>
              <c:numCache>
                <c:formatCode>General</c:formatCode>
                <c:ptCount val="9"/>
                <c:pt idx="0">
                  <c:v>3.5553189262684304E-2</c:v>
                </c:pt>
                <c:pt idx="1">
                  <c:v>3.3297187400821043E-3</c:v>
                </c:pt>
                <c:pt idx="5">
                  <c:v>8.9253935566150119E-2</c:v>
                </c:pt>
                <c:pt idx="6">
                  <c:v>1.0816259130086371E-3</c:v>
                </c:pt>
                <c:pt idx="7">
                  <c:v>3.9005981036499236E-3</c:v>
                </c:pt>
                <c:pt idx="8">
                  <c:v>4.6970711128536702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Alpro</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E$2:$E$10</c:f>
              <c:numCache>
                <c:formatCode>General</c:formatCode>
                <c:ptCount val="9"/>
                <c:pt idx="2">
                  <c:v>8.1665312278000196E-4</c:v>
                </c:pt>
                <c:pt idx="5">
                  <c:v>7.4542954765387413E-3</c:v>
                </c:pt>
                <c:pt idx="6">
                  <c:v>3.9570279600127455E-2</c:v>
                </c:pt>
                <c:pt idx="7">
                  <c:v>2.5691885709154473E-3</c:v>
                </c:pt>
                <c:pt idx="8">
                  <c:v>1.653501452714102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F$2:$F$10</c:f>
              <c:numCache>
                <c:formatCode>General</c:formatCode>
                <c:ptCount val="9"/>
                <c:pt idx="0">
                  <c:v>6.844228153697561E-2</c:v>
                </c:pt>
                <c:pt idx="1">
                  <c:v>3.7283803804598922E-3</c:v>
                </c:pt>
                <c:pt idx="2">
                  <c:v>2.1083886830345684E-2</c:v>
                </c:pt>
                <c:pt idx="3">
                  <c:v>2.2828030249200354E-4</c:v>
                </c:pt>
                <c:pt idx="4">
                  <c:v>6.11414424663679E-2</c:v>
                </c:pt>
                <c:pt idx="5">
                  <c:v>7.0119872339927336E-2</c:v>
                </c:pt>
                <c:pt idx="6">
                  <c:v>7.5096365828198119E-2</c:v>
                </c:pt>
                <c:pt idx="7">
                  <c:v>6.3474200202756056E-2</c:v>
                </c:pt>
                <c:pt idx="8">
                  <c:v>4.355784186811683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5">
                  <c:v>0.26290000000000002</c:v>
                </c:pt>
                <c:pt idx="6">
                  <c:v>0.59050000000000002</c:v>
                </c:pt>
                <c:pt idx="7">
                  <c:v>0.1464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0">
                  <c:v>2.0638368417076565E-2</c:v>
                </c:pt>
                <c:pt idx="5">
                  <c:v>0.15293677002086345</c:v>
                </c:pt>
                <c:pt idx="6">
                  <c:v>0.12070121453309685</c:v>
                </c:pt>
                <c:pt idx="7">
                  <c:v>0.31148388314378267</c:v>
                </c:pt>
                <c:pt idx="8">
                  <c:v>0.39423976388518056</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Danon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B$2:$B$10</c:f>
              <c:numCache>
                <c:formatCode>General</c:formatCode>
                <c:ptCount val="9"/>
                <c:pt idx="5">
                  <c:v>3.7921692900600552E-2</c:v>
                </c:pt>
                <c:pt idx="6">
                  <c:v>8.516311721716685E-2</c:v>
                </c:pt>
                <c:pt idx="7">
                  <c:v>2.1134757393001281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Yopro</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C$2:$C$10</c:f>
              <c:numCache>
                <c:formatCode>General</c:formatCode>
                <c:ptCount val="9"/>
                <c:pt idx="5">
                  <c:v>1.1549955100737443E-2</c:v>
                </c:pt>
                <c:pt idx="6">
                  <c:v>4.7634652134748061E-3</c:v>
                </c:pt>
                <c:pt idx="7">
                  <c:v>0.24767515546675384</c:v>
                </c:pt>
                <c:pt idx="8">
                  <c:v>8.5635367179551128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D$2:$D$10</c:f>
              <c:numCache>
                <c:formatCode>General</c:formatCode>
                <c:ptCount val="9"/>
                <c:pt idx="0">
                  <c:v>2.0509434404183343E-2</c:v>
                </c:pt>
                <c:pt idx="5">
                  <c:v>7.239497379711575E-2</c:v>
                </c:pt>
                <c:pt idx="6">
                  <c:v>2.3686419489610398E-2</c:v>
                </c:pt>
                <c:pt idx="7">
                  <c:v>1.6993457072061988E-2</c:v>
                </c:pt>
                <c:pt idx="8">
                  <c:v>0.2013529762671455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Valio Profeel</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E$2:$E$10</c:f>
              <c:numCache>
                <c:formatCode>General</c:formatCode>
                <c:ptCount val="9"/>
                <c:pt idx="8">
                  <c:v>6.013558275200036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F$2:$F$10</c:f>
              <c:numCache>
                <c:formatCode>General</c:formatCode>
                <c:ptCount val="9"/>
                <c:pt idx="0">
                  <c:v>1.2893401289322195E-4</c:v>
                </c:pt>
                <c:pt idx="5">
                  <c:v>3.1070148222409718E-2</c:v>
                </c:pt>
                <c:pt idx="6">
                  <c:v>7.0882126128447827E-3</c:v>
                </c:pt>
                <c:pt idx="7">
                  <c:v>2.5680513211965534E-2</c:v>
                </c:pt>
                <c:pt idx="8">
                  <c:v>4.7115837686483468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5">
                  <c:v>0.28920000000000001</c:v>
                </c:pt>
                <c:pt idx="6">
                  <c:v>0.624</c:v>
                </c:pt>
                <c:pt idx="7">
                  <c:v>8.6800000000000002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0">
                  <c:v>0.30604896386285924</c:v>
                </c:pt>
                <c:pt idx="2">
                  <c:v>7.5676166535280323E-2</c:v>
                </c:pt>
                <c:pt idx="4">
                  <c:v>7.1503739643273917E-2</c:v>
                </c:pt>
                <c:pt idx="5">
                  <c:v>0.35228389469703886</c:v>
                </c:pt>
                <c:pt idx="6">
                  <c:v>0.1059055508574938</c:v>
                </c:pt>
                <c:pt idx="7">
                  <c:v>5.4874860987079714E-2</c:v>
                </c:pt>
                <c:pt idx="8">
                  <c:v>3.3305344123943009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5">
                  <c:v>0.10511061492002367</c:v>
                </c:pt>
                <c:pt idx="6">
                  <c:v>0.21174527660463402</c:v>
                </c:pt>
                <c:pt idx="7">
                  <c:v>0.37429767392362551</c:v>
                </c:pt>
                <c:pt idx="8">
                  <c:v>0.3088464345517167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Danon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B$2:$B$10</c:f>
              <c:numCache>
                <c:formatCode>General</c:formatCode>
                <c:ptCount val="9"/>
                <c:pt idx="5">
                  <c:v>7.4503551620186528E-2</c:v>
                </c:pt>
                <c:pt idx="6">
                  <c:v>0.16075178861996908</c:v>
                </c:pt>
                <c:pt idx="7">
                  <c:v>2.2374583104233632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Yopro</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C$2:$C$10</c:f>
              <c:numCache>
                <c:formatCode>General</c:formatCode>
                <c:ptCount val="9"/>
                <c:pt idx="5">
                  <c:v>9.1833671316980045E-3</c:v>
                </c:pt>
                <c:pt idx="6">
                  <c:v>5.6603228220090743E-3</c:v>
                </c:pt>
                <c:pt idx="7">
                  <c:v>0.24741618235482304</c:v>
                </c:pt>
                <c:pt idx="8">
                  <c:v>6.8207661882342271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Valio Profeel</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D$2:$D$10</c:f>
              <c:numCache>
                <c:formatCode>General</c:formatCode>
                <c:ptCount val="9"/>
                <c:pt idx="8">
                  <c:v>0.1473063458810993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Reina</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E$2:$E$10</c:f>
              <c:numCache>
                <c:formatCode>General</c:formatCode>
                <c:ptCount val="9"/>
                <c:pt idx="5">
                  <c:v>2.1423696168139144E-2</c:v>
                </c:pt>
                <c:pt idx="7">
                  <c:v>4.4988940807206113E-2</c:v>
                </c:pt>
                <c:pt idx="8">
                  <c:v>6.358329671022681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F$2:$F$10</c:f>
              <c:numCache>
                <c:formatCode>General</c:formatCode>
                <c:ptCount val="9"/>
                <c:pt idx="6">
                  <c:v>4.5333165162655863E-2</c:v>
                </c:pt>
                <c:pt idx="7">
                  <c:v>5.9517967657362753E-2</c:v>
                </c:pt>
                <c:pt idx="8">
                  <c:v>2.974913007804827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5">
                  <c:v>0.26319999999999999</c:v>
                </c:pt>
                <c:pt idx="6">
                  <c:v>0.55149999999999999</c:v>
                </c:pt>
                <c:pt idx="7">
                  <c:v>0.1852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5">
                  <c:v>0.10793606903096596</c:v>
                </c:pt>
                <c:pt idx="6">
                  <c:v>0.17753998986512773</c:v>
                </c:pt>
                <c:pt idx="7">
                  <c:v>0.36874058508697011</c:v>
                </c:pt>
                <c:pt idx="8">
                  <c:v>0.3457833560169362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Danon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B$2:$B$10</c:f>
              <c:numCache>
                <c:formatCode>General</c:formatCode>
                <c:ptCount val="9"/>
                <c:pt idx="5">
                  <c:v>4.5862283930510103E-2</c:v>
                </c:pt>
                <c:pt idx="6">
                  <c:v>9.6086177949435622E-2</c:v>
                </c:pt>
                <c:pt idx="7">
                  <c:v>3.2277055564507641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Yopro</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C$2:$C$10</c:f>
              <c:numCache>
                <c:formatCode>General</c:formatCode>
                <c:ptCount val="9"/>
                <c:pt idx="5">
                  <c:v>2.0078161324450641E-2</c:v>
                </c:pt>
                <c:pt idx="6">
                  <c:v>5.4646395383851553E-3</c:v>
                </c:pt>
                <c:pt idx="7">
                  <c:v>0.27532945705876677</c:v>
                </c:pt>
                <c:pt idx="8">
                  <c:v>9.2757091622398702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Valio Profeel</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D$2:$D$10</c:f>
              <c:numCache>
                <c:formatCode>General</c:formatCode>
                <c:ptCount val="9"/>
                <c:pt idx="8">
                  <c:v>9.6910197160825662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E$2:$E$10</c:f>
              <c:numCache>
                <c:formatCode>General</c:formatCode>
                <c:ptCount val="9"/>
                <c:pt idx="6">
                  <c:v>6.9629046497732466E-2</c:v>
                </c:pt>
                <c:pt idx="7">
                  <c:v>3.4962168570384353E-2</c:v>
                </c:pt>
                <c:pt idx="8">
                  <c:v>8.219803150681297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F$2:$F$10</c:f>
              <c:numCache>
                <c:formatCode>General</c:formatCode>
                <c:ptCount val="9"/>
                <c:pt idx="5">
                  <c:v>4.1995623776005221E-2</c:v>
                </c:pt>
                <c:pt idx="6">
                  <c:v>6.3601258795744891E-3</c:v>
                </c:pt>
                <c:pt idx="7">
                  <c:v>2.6171903893311303E-2</c:v>
                </c:pt>
                <c:pt idx="8">
                  <c:v>7.3918035726898909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7">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6">
                  <c:v>0.13927308811356887</c:v>
                </c:pt>
                <c:pt idx="7">
                  <c:v>0.82231775340255508</c:v>
                </c:pt>
                <c:pt idx="8">
                  <c:v>3.840915848387608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Danon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B$2:$B$10</c:f>
              <c:numCache>
                <c:formatCode>General</c:formatCode>
                <c:ptCount val="9"/>
                <c:pt idx="7">
                  <c:v>0.10453535707622948</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Yopro</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C$2:$C$10</c:f>
              <c:numCache>
                <c:formatCode>General</c:formatCode>
                <c:ptCount val="9"/>
                <c:pt idx="6">
                  <c:v>2.3560740620362241E-2</c:v>
                </c:pt>
                <c:pt idx="7">
                  <c:v>0.6570277816897139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D$2:$D$10</c:f>
              <c:numCache>
                <c:formatCode>General</c:formatCode>
                <c:ptCount val="9"/>
                <c:pt idx="6">
                  <c:v>0.10013657229171125</c:v>
                </c:pt>
                <c:pt idx="8">
                  <c:v>3.840915848387608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indahls Pro+</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E$2:$E$10</c:f>
              <c:numCache>
                <c:formatCode>General</c:formatCode>
                <c:ptCount val="9"/>
                <c:pt idx="7">
                  <c:v>6.075461463661156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F$2:$F$10</c:f>
              <c:numCache>
                <c:formatCode>General</c:formatCode>
                <c:ptCount val="9"/>
                <c:pt idx="6">
                  <c:v>1.5575775201495378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7">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6">
                  <c:v>0.21875180530721572</c:v>
                </c:pt>
                <c:pt idx="7">
                  <c:v>0.78124819469278417</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Danone Group</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B$2:$B$10</c:f>
              <c:numCache>
                <c:formatCode>General</c:formatCode>
                <c:ptCount val="9"/>
                <c:pt idx="0">
                  <c:v>0.169388497394728</c:v>
                </c:pt>
                <c:pt idx="4">
                  <c:v>5.7346472519537978E-2</c:v>
                </c:pt>
                <c:pt idx="5">
                  <c:v>0.20621189678340063</c:v>
                </c:pt>
                <c:pt idx="6">
                  <c:v>8.7574500850683121E-2</c:v>
                </c:pt>
                <c:pt idx="7">
                  <c:v>4.0989025137976857E-2</c:v>
                </c:pt>
                <c:pt idx="8">
                  <c:v>6.889854180322362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C$2:$C$10</c:f>
              <c:numCache>
                <c:formatCode>General</c:formatCode>
                <c:ptCount val="9"/>
                <c:pt idx="0">
                  <c:v>0.1204854634473433</c:v>
                </c:pt>
                <c:pt idx="2">
                  <c:v>7.2318732650067802E-2</c:v>
                </c:pt>
                <c:pt idx="4">
                  <c:v>6.2124095175233353E-3</c:v>
                </c:pt>
                <c:pt idx="5">
                  <c:v>8.6806459034630551E-2</c:v>
                </c:pt>
                <c:pt idx="6">
                  <c:v>7.1375767986199233E-3</c:v>
                </c:pt>
                <c:pt idx="8">
                  <c:v>3.588248989876700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Ot. Marcas</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D$2:$D$10</c:f>
              <c:numCache>
                <c:formatCode>General</c:formatCode>
                <c:ptCount val="9"/>
                <c:pt idx="0">
                  <c:v>1.6041331963754103E-2</c:v>
                </c:pt>
                <c:pt idx="5">
                  <c:v>2.0929446704158829E-2</c:v>
                </c:pt>
                <c:pt idx="6">
                  <c:v>2.9242371135984272E-3</c:v>
                </c:pt>
                <c:pt idx="8">
                  <c:v>1.200895352427481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El Pastoret</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E$2:$E$10</c:f>
              <c:numCache>
                <c:formatCode>General</c:formatCode>
                <c:ptCount val="9"/>
                <c:pt idx="5">
                  <c:v>1.477458205759822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F$2:$F$10</c:f>
              <c:numCache>
                <c:formatCode>General</c:formatCode>
                <c:ptCount val="9"/>
                <c:pt idx="0">
                  <c:v>1.3367105703381065E-4</c:v>
                </c:pt>
                <c:pt idx="2">
                  <c:v>3.3574338852125169E-3</c:v>
                </c:pt>
                <c:pt idx="4">
                  <c:v>7.9448576062126075E-3</c:v>
                </c:pt>
                <c:pt idx="5">
                  <c:v>2.3561510117250641E-2</c:v>
                </c:pt>
                <c:pt idx="6">
                  <c:v>8.2692360945923263E-3</c:v>
                </c:pt>
                <c:pt idx="7">
                  <c:v>1.3885835849102857E-2</c:v>
                </c:pt>
                <c:pt idx="8">
                  <c:v>1.08182874294691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Danon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B$2:$B$10</c:f>
              <c:numCache>
                <c:formatCode>General</c:formatCode>
                <c:ptCount val="9"/>
                <c:pt idx="7">
                  <c:v>9.5982460515729603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Yopro</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C$2:$C$10</c:f>
              <c:numCache>
                <c:formatCode>General</c:formatCode>
                <c:ptCount val="9"/>
                <c:pt idx="6">
                  <c:v>2.4281646242917912E-2</c:v>
                </c:pt>
                <c:pt idx="7">
                  <c:v>0.507940533708696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Margui</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D$2:$D$10</c:f>
              <c:numCache>
                <c:formatCode>General</c:formatCode>
                <c:ptCount val="9"/>
                <c:pt idx="6">
                  <c:v>0.1944701590642978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indahls Pro+</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E$2:$E$10</c:f>
              <c:numCache>
                <c:formatCode>General</c:formatCode>
                <c:ptCount val="9"/>
                <c:pt idx="7">
                  <c:v>0.1773252004683583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F$2:$F$10</c:f>
              <c:numCache>
                <c:formatCode>General</c:formatCode>
                <c:ptCount val="9"/>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7">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6">
                  <c:v>0.29106485694573947</c:v>
                </c:pt>
                <c:pt idx="7">
                  <c:v>0.7089351430542606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Danon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B$2:$B$10</c:f>
              <c:numCache>
                <c:formatCode>General</c:formatCode>
                <c:ptCount val="9"/>
                <c:pt idx="7">
                  <c:v>0.1251066109072678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Yopro</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C$2:$C$10</c:f>
              <c:numCache>
                <c:formatCode>General</c:formatCode>
                <c:ptCount val="9"/>
                <c:pt idx="6">
                  <c:v>2.118106873506112E-2</c:v>
                </c:pt>
                <c:pt idx="7">
                  <c:v>0.4921430276777194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D$2:$D$10</c:f>
              <c:numCache>
                <c:formatCode>General</c:formatCode>
                <c:ptCount val="9"/>
                <c:pt idx="6">
                  <c:v>0.2698837882106783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indahls Pro+</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E$2:$E$10</c:f>
              <c:numCache>
                <c:formatCode>General</c:formatCode>
                <c:ptCount val="9"/>
                <c:pt idx="7">
                  <c:v>9.16855044692733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F$2:$F$10</c:f>
              <c:numCache>
                <c:formatCode>General</c:formatCode>
                <c:ptCount val="9"/>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5">
                  <c:v>0.30809999999999998</c:v>
                </c:pt>
                <c:pt idx="6">
                  <c:v>0.69189999999999996</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0">
                  <c:v>2.5868389677583283E-2</c:v>
                </c:pt>
                <c:pt idx="5">
                  <c:v>0.19169286461894813</c:v>
                </c:pt>
                <c:pt idx="6">
                  <c:v>0.11599486896786584</c:v>
                </c:pt>
                <c:pt idx="7">
                  <c:v>0.18203217707627592</c:v>
                </c:pt>
                <c:pt idx="8">
                  <c:v>0.4844116996593268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Danon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B$2:$B$10</c:f>
              <c:numCache>
                <c:formatCode>General</c:formatCode>
                <c:ptCount val="9"/>
                <c:pt idx="5">
                  <c:v>4.7531525233104346E-2</c:v>
                </c:pt>
                <c:pt idx="6">
                  <c:v>0.10674451864656821</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C$2:$C$10</c:f>
              <c:numCache>
                <c:formatCode>General</c:formatCode>
                <c:ptCount val="9"/>
                <c:pt idx="0">
                  <c:v>2.5706782169624624E-2</c:v>
                </c:pt>
                <c:pt idx="5">
                  <c:v>9.074076763416436E-2</c:v>
                </c:pt>
                <c:pt idx="6">
                  <c:v>4.3129924607013233E-3</c:v>
                </c:pt>
                <c:pt idx="7">
                  <c:v>2.1299812108483116E-2</c:v>
                </c:pt>
                <c:pt idx="8">
                  <c:v>0.2426449822073779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Yopro</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D$2:$D$10</c:f>
              <c:numCache>
                <c:formatCode>General</c:formatCode>
                <c:ptCount val="9"/>
                <c:pt idx="5">
                  <c:v>1.4476858502886877E-2</c:v>
                </c:pt>
                <c:pt idx="7">
                  <c:v>0.14394006871353443</c:v>
                </c:pt>
                <c:pt idx="8">
                  <c:v>0.107336442669112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Valio Profeel</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E$2:$E$10</c:f>
              <c:numCache>
                <c:formatCode>General</c:formatCode>
                <c:ptCount val="9"/>
                <c:pt idx="8">
                  <c:v>7.537469322575715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F$2:$F$10</c:f>
              <c:numCache>
                <c:formatCode>General</c:formatCode>
                <c:ptCount val="9"/>
                <c:pt idx="0">
                  <c:v>1.616075079586578E-4</c:v>
                </c:pt>
                <c:pt idx="5">
                  <c:v>3.8943713248792533E-2</c:v>
                </c:pt>
                <c:pt idx="6">
                  <c:v>4.937357860596305E-3</c:v>
                </c:pt>
                <c:pt idx="7">
                  <c:v>1.6792296254258383E-2</c:v>
                </c:pt>
                <c:pt idx="8">
                  <c:v>5.9055581557079476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5">
                  <c:v>0.31669999999999998</c:v>
                </c:pt>
                <c:pt idx="6">
                  <c:v>0.6833000000000000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5">
                  <c:v>0.13706108369278397</c:v>
                </c:pt>
                <c:pt idx="6">
                  <c:v>0.20961550239783658</c:v>
                </c:pt>
                <c:pt idx="7">
                  <c:v>0.25059694288150702</c:v>
                </c:pt>
                <c:pt idx="8">
                  <c:v>0.40272647102787246</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Danon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B$2:$B$10</c:f>
              <c:numCache>
                <c:formatCode>General</c:formatCode>
                <c:ptCount val="9"/>
                <c:pt idx="5">
                  <c:v>9.7150392772354793E-2</c:v>
                </c:pt>
                <c:pt idx="6">
                  <c:v>0.20961550239783658</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Valio Profeel</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C$2:$C$10</c:f>
              <c:numCache>
                <c:formatCode>General</c:formatCode>
                <c:ptCount val="9"/>
                <c:pt idx="8">
                  <c:v>0.192083049049324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Yopro</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D$2:$D$10</c:f>
              <c:numCache>
                <c:formatCode>General</c:formatCode>
                <c:ptCount val="9"/>
                <c:pt idx="5">
                  <c:v>1.1974834815464878E-2</c:v>
                </c:pt>
                <c:pt idx="7">
                  <c:v>0.16822460728118269</c:v>
                </c:pt>
                <c:pt idx="8">
                  <c:v>8.8940741721071456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Reina</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E$2:$E$10</c:f>
              <c:numCache>
                <c:formatCode>General</c:formatCode>
                <c:ptCount val="9"/>
                <c:pt idx="5">
                  <c:v>2.7935856104964296E-2</c:v>
                </c:pt>
                <c:pt idx="7">
                  <c:v>5.8664227070861781E-2</c:v>
                </c:pt>
                <c:pt idx="8">
                  <c:v>8.291070848072201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F$2:$F$10</c:f>
              <c:numCache>
                <c:formatCode>General</c:formatCode>
                <c:ptCount val="9"/>
                <c:pt idx="7">
                  <c:v>2.3708108529462531E-2</c:v>
                </c:pt>
                <c:pt idx="8">
                  <c:v>3.8791971776754711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0">
                  <c:v>0.23899999999999999</c:v>
                </c:pt>
                <c:pt idx="1">
                  <c:v>1.03E-2</c:v>
                </c:pt>
                <c:pt idx="2">
                  <c:v>2.64E-2</c:v>
                </c:pt>
                <c:pt idx="4">
                  <c:v>0.1159</c:v>
                </c:pt>
                <c:pt idx="5">
                  <c:v>0.2787</c:v>
                </c:pt>
                <c:pt idx="6">
                  <c:v>0.1971</c:v>
                </c:pt>
                <c:pt idx="7">
                  <c:v>0.1031</c:v>
                </c:pt>
                <c:pt idx="8">
                  <c:v>2.9499999999999998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5">
                  <c:v>0.3231</c:v>
                </c:pt>
                <c:pt idx="6">
                  <c:v>0.67689999999999995</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5">
                  <c:v>0.14546569507154494</c:v>
                </c:pt>
                <c:pt idx="6">
                  <c:v>0.13806712554745951</c:v>
                </c:pt>
                <c:pt idx="7">
                  <c:v>0.25045413407781175</c:v>
                </c:pt>
                <c:pt idx="8">
                  <c:v>0.4660130453031837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Danon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B$2:$B$10</c:f>
              <c:numCache>
                <c:formatCode>General</c:formatCode>
                <c:ptCount val="9"/>
                <c:pt idx="5">
                  <c:v>6.1808708334618274E-2</c:v>
                </c:pt>
                <c:pt idx="6">
                  <c:v>0.1294955688832141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Yopro</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C$2:$C$10</c:f>
              <c:numCache>
                <c:formatCode>General</c:formatCode>
                <c:ptCount val="9"/>
                <c:pt idx="5">
                  <c:v>2.7059385421771328E-2</c:v>
                </c:pt>
                <c:pt idx="7">
                  <c:v>0.19994286665479771</c:v>
                </c:pt>
                <c:pt idx="8">
                  <c:v>0.1250089513802488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Valio Profeel</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D$2:$D$10</c:f>
              <c:numCache>
                <c:formatCode>General</c:formatCode>
                <c:ptCount val="9"/>
                <c:pt idx="8">
                  <c:v>0.1306061015199249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E$2:$E$10</c:f>
              <c:numCache>
                <c:formatCode>General</c:formatCode>
                <c:ptCount val="9"/>
                <c:pt idx="7">
                  <c:v>4.7118597128457687E-2</c:v>
                </c:pt>
                <c:pt idx="8">
                  <c:v>0.11077848113239085</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F$2:$F$10</c:f>
              <c:numCache>
                <c:formatCode>General</c:formatCode>
                <c:ptCount val="9"/>
                <c:pt idx="5">
                  <c:v>5.6597601315155358E-2</c:v>
                </c:pt>
                <c:pt idx="6">
                  <c:v>8.5715566642453663E-3</c:v>
                </c:pt>
                <c:pt idx="7">
                  <c:v>3.3926702945563428E-3</c:v>
                </c:pt>
                <c:pt idx="8">
                  <c:v>9.961951127061916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5">
                  <c:v>3.3000000000000002E-2</c:v>
                </c:pt>
                <c:pt idx="6">
                  <c:v>1.3599999999999999E-2</c:v>
                </c:pt>
                <c:pt idx="7">
                  <c:v>0.70840000000000003</c:v>
                </c:pt>
                <c:pt idx="8">
                  <c:v>0.2449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0">
                  <c:v>0.30736479800091504</c:v>
                </c:pt>
                <c:pt idx="1">
                  <c:v>3.6356005758039879E-3</c:v>
                </c:pt>
                <c:pt idx="2">
                  <c:v>0.10492213693967518</c:v>
                </c:pt>
                <c:pt idx="3">
                  <c:v>2.8592086051531336E-3</c:v>
                </c:pt>
                <c:pt idx="4">
                  <c:v>5.0656583762123029E-2</c:v>
                </c:pt>
                <c:pt idx="5">
                  <c:v>0.31463270839969526</c:v>
                </c:pt>
                <c:pt idx="6">
                  <c:v>0.10365221516858254</c:v>
                </c:pt>
                <c:pt idx="7">
                  <c:v>6.3038683381357249E-2</c:v>
                </c:pt>
                <c:pt idx="8">
                  <c:v>4.9238065166694607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Yopro</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B$2:$B$10</c:f>
              <c:numCache>
                <c:formatCode>General</c:formatCode>
                <c:ptCount val="9"/>
                <c:pt idx="5">
                  <c:v>6.0993301361957162E-4</c:v>
                </c:pt>
                <c:pt idx="6">
                  <c:v>2.5155030193504214E-4</c:v>
                </c:pt>
                <c:pt idx="7">
                  <c:v>1.307929361239576E-2</c:v>
                </c:pt>
                <c:pt idx="8">
                  <c:v>4.5222545993193744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C$2:$C$10</c:f>
              <c:numCache>
                <c:formatCode>General</c:formatCode>
                <c:ptCount val="9"/>
                <c:pt idx="0">
                  <c:v>0.16215164830392129</c:v>
                </c:pt>
                <c:pt idx="1">
                  <c:v>1.1065199786788888E-3</c:v>
                </c:pt>
                <c:pt idx="2">
                  <c:v>9.4492217117823546E-2</c:v>
                </c:pt>
                <c:pt idx="3">
                  <c:v>2.6542228503065477E-3</c:v>
                </c:pt>
                <c:pt idx="4">
                  <c:v>1.1838114239263571E-2</c:v>
                </c:pt>
                <c:pt idx="5">
                  <c:v>0.12679376391638261</c:v>
                </c:pt>
                <c:pt idx="6">
                  <c:v>1.208070401327478E-2</c:v>
                </c:pt>
                <c:pt idx="7">
                  <c:v>9.0361626289163673E-3</c:v>
                </c:pt>
                <c:pt idx="8">
                  <c:v>2.1354583155859561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ctivia</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D$2:$D$10</c:f>
              <c:numCache>
                <c:formatCode>General</c:formatCode>
                <c:ptCount val="9"/>
                <c:pt idx="0">
                  <c:v>3.6436797817234759E-2</c:v>
                </c:pt>
                <c:pt idx="1">
                  <c:v>8.3380258653203835E-4</c:v>
                </c:pt>
                <c:pt idx="2">
                  <c:v>1.0521991455887253E-9</c:v>
                </c:pt>
                <c:pt idx="3">
                  <c:v>9.4697923102985274E-9</c:v>
                </c:pt>
                <c:pt idx="4">
                  <c:v>2.5252779494129409E-8</c:v>
                </c:pt>
                <c:pt idx="5">
                  <c:v>8.0674964686868272E-2</c:v>
                </c:pt>
                <c:pt idx="6">
                  <c:v>1.1551694583743291E-3</c:v>
                </c:pt>
                <c:pt idx="7">
                  <c:v>2.3967591891732973E-3</c:v>
                </c:pt>
                <c:pt idx="8">
                  <c:v>1.0240738624271388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Danone</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E$2:$E$10</c:f>
              <c:numCache>
                <c:formatCode>General</c:formatCode>
                <c:ptCount val="9"/>
                <c:pt idx="0">
                  <c:v>2.5750085637304736E-2</c:v>
                </c:pt>
                <c:pt idx="4">
                  <c:v>2.1024922324252167E-3</c:v>
                </c:pt>
                <c:pt idx="5">
                  <c:v>3.6422261159938879E-2</c:v>
                </c:pt>
                <c:pt idx="6">
                  <c:v>4.4973159012702034E-3</c:v>
                </c:pt>
                <c:pt idx="7">
                  <c:v>2.8102450440127351E-3</c:v>
                </c:pt>
                <c:pt idx="8">
                  <c:v>2.4009185323958093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F$2:$F$10</c:f>
              <c:numCache>
                <c:formatCode>General</c:formatCode>
                <c:ptCount val="9"/>
                <c:pt idx="0">
                  <c:v>8.302626624245428E-2</c:v>
                </c:pt>
                <c:pt idx="1">
                  <c:v>1.6952780105930602E-3</c:v>
                </c:pt>
                <c:pt idx="2">
                  <c:v>1.0429918769652512E-2</c:v>
                </c:pt>
                <c:pt idx="3">
                  <c:v>2.0497628505427562E-4</c:v>
                </c:pt>
                <c:pt idx="4">
                  <c:v>3.671595203765475E-2</c:v>
                </c:pt>
                <c:pt idx="5">
                  <c:v>7.013178562288587E-2</c:v>
                </c:pt>
                <c:pt idx="6">
                  <c:v>8.5667475493728176E-2</c:v>
                </c:pt>
                <c:pt idx="7">
                  <c:v>3.5716222906859094E-2</c:v>
                </c:pt>
                <c:pt idx="8">
                  <c:v>2.3018728172033369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5">
                  <c:v>2.7799999999999998E-2</c:v>
                </c:pt>
                <c:pt idx="6">
                  <c:v>1.7100000000000001E-2</c:v>
                </c:pt>
                <c:pt idx="7">
                  <c:v>0.74870000000000003</c:v>
                </c:pt>
                <c:pt idx="8">
                  <c:v>0.2064</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0">
                  <c:v>0.30604896386285924</c:v>
                </c:pt>
                <c:pt idx="2">
                  <c:v>7.5676166535280323E-2</c:v>
                </c:pt>
                <c:pt idx="4">
                  <c:v>7.1503739643273917E-2</c:v>
                </c:pt>
                <c:pt idx="5">
                  <c:v>0.35228389469703891</c:v>
                </c:pt>
                <c:pt idx="6">
                  <c:v>0.10590555085749379</c:v>
                </c:pt>
                <c:pt idx="7">
                  <c:v>5.4874860987079714E-2</c:v>
                </c:pt>
                <c:pt idx="8">
                  <c:v>3.3305344123943009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Yopro</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B$2:$B$10</c:f>
              <c:numCache>
                <c:formatCode>General</c:formatCode>
                <c:ptCount val="9"/>
                <c:pt idx="5">
                  <c:v>5.9237741062106704E-4</c:v>
                </c:pt>
                <c:pt idx="6">
                  <c:v>3.6512178251127891E-4</c:v>
                </c:pt>
                <c:pt idx="7">
                  <c:v>1.5959697063967881E-2</c:v>
                </c:pt>
                <c:pt idx="8">
                  <c:v>4.3997672695579521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ctivia</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C$2:$C$10</c:f>
              <c:numCache>
                <c:formatCode>General</c:formatCode>
                <c:ptCount val="9"/>
                <c:pt idx="0">
                  <c:v>4.4576299509273186E-2</c:v>
                </c:pt>
                <c:pt idx="5">
                  <c:v>0.12212417865343349</c:v>
                </c:pt>
                <c:pt idx="6">
                  <c:v>2.3478137853908108E-3</c:v>
                </c:pt>
                <c:pt idx="7">
                  <c:v>2.2212193067449051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lipende</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D$2:$D$10</c:f>
              <c:numCache>
                <c:formatCode>General</c:formatCode>
                <c:ptCount val="9"/>
                <c:pt idx="0">
                  <c:v>0.1204854634473433</c:v>
                </c:pt>
                <c:pt idx="2">
                  <c:v>7.2318732650067802E-2</c:v>
                </c:pt>
                <c:pt idx="4">
                  <c:v>6.2124095175233353E-3</c:v>
                </c:pt>
                <c:pt idx="5">
                  <c:v>8.6806459034630551E-2</c:v>
                </c:pt>
                <c:pt idx="6">
                  <c:v>7.1375767986199233E-3</c:v>
                </c:pt>
                <c:pt idx="8">
                  <c:v>3.5882489898767002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Danone</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E$2:$E$10</c:f>
              <c:numCache>
                <c:formatCode>General</c:formatCode>
                <c:ptCount val="9"/>
                <c:pt idx="0">
                  <c:v>4.0371180520103508E-2</c:v>
                </c:pt>
                <c:pt idx="5">
                  <c:v>5.3100737360399393E-2</c:v>
                </c:pt>
                <c:pt idx="6">
                  <c:v>1.0369369636406462E-2</c:v>
                </c:pt>
                <c:pt idx="7">
                  <c:v>4.1766219893740724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F$2:$F$10</c:f>
              <c:numCache>
                <c:formatCode>General</c:formatCode>
                <c:ptCount val="9"/>
                <c:pt idx="0">
                  <c:v>0.10061602038613922</c:v>
                </c:pt>
                <c:pt idx="2">
                  <c:v>3.3574338852125169E-3</c:v>
                </c:pt>
                <c:pt idx="4">
                  <c:v>6.5291330125750585E-2</c:v>
                </c:pt>
                <c:pt idx="5">
                  <c:v>8.9660142237954349E-2</c:v>
                </c:pt>
                <c:pt idx="6">
                  <c:v>8.5685668854565314E-2</c:v>
                </c:pt>
                <c:pt idx="7">
                  <c:v>3.2517322626992855E-2</c:v>
                </c:pt>
                <c:pt idx="8">
                  <c:v>2.5317327864508354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5">
                  <c:v>5.0999999999999997E-2</c:v>
                </c:pt>
                <c:pt idx="6">
                  <c:v>1.3899999999999999E-2</c:v>
                </c:pt>
                <c:pt idx="7">
                  <c:v>0.69950000000000001</c:v>
                </c:pt>
                <c:pt idx="8">
                  <c:v>0.2356</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0">
                  <c:v>0.26004345410873875</c:v>
                </c:pt>
                <c:pt idx="1">
                  <c:v>7.0580991205419974E-3</c:v>
                </c:pt>
                <c:pt idx="2">
                  <c:v>8.9898446433629292E-2</c:v>
                </c:pt>
                <c:pt idx="3">
                  <c:v>2.4467544986446492E-3</c:v>
                </c:pt>
                <c:pt idx="4">
                  <c:v>7.6630029304030442E-2</c:v>
                </c:pt>
                <c:pt idx="5">
                  <c:v>0.27694616328571614</c:v>
                </c:pt>
                <c:pt idx="6">
                  <c:v>0.15250124407557572</c:v>
                </c:pt>
                <c:pt idx="7">
                  <c:v>7.8885754450299925E-2</c:v>
                </c:pt>
                <c:pt idx="8">
                  <c:v>5.559005472282302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0">
                  <c:v>0.2600434541087388</c:v>
                </c:pt>
                <c:pt idx="1">
                  <c:v>7.0580991205419965E-3</c:v>
                </c:pt>
                <c:pt idx="2">
                  <c:v>8.9898446433629292E-2</c:v>
                </c:pt>
                <c:pt idx="3">
                  <c:v>2.4467544986446492E-3</c:v>
                </c:pt>
                <c:pt idx="4">
                  <c:v>7.6630029304030442E-2</c:v>
                </c:pt>
                <c:pt idx="5">
                  <c:v>0.2769461632857162</c:v>
                </c:pt>
                <c:pt idx="6">
                  <c:v>0.15250124407557572</c:v>
                </c:pt>
                <c:pt idx="7">
                  <c:v>7.8885754450299925E-2</c:v>
                </c:pt>
                <c:pt idx="8">
                  <c:v>5.559005472282302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Yopro</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B$2:$B$10</c:f>
              <c:numCache>
                <c:formatCode>General</c:formatCode>
                <c:ptCount val="9"/>
                <c:pt idx="5">
                  <c:v>1.576026117645353E-3</c:v>
                </c:pt>
                <c:pt idx="6">
                  <c:v>4.2894438872370671E-4</c:v>
                </c:pt>
                <c:pt idx="7">
                  <c:v>2.161186018329812E-2</c:v>
                </c:pt>
                <c:pt idx="8">
                  <c:v>7.2809256102400188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C$2:$C$10</c:f>
              <c:numCache>
                <c:formatCode>General</c:formatCode>
                <c:ptCount val="9"/>
                <c:pt idx="0">
                  <c:v>0.12961116915905493</c:v>
                </c:pt>
                <c:pt idx="2">
                  <c:v>6.799790648050362E-2</c:v>
                </c:pt>
                <c:pt idx="3">
                  <c:v>2.218474196152646E-3</c:v>
                </c:pt>
                <c:pt idx="4">
                  <c:v>1.214646620778601E-2</c:v>
                </c:pt>
                <c:pt idx="5">
                  <c:v>7.8333505592983133E-2</c:v>
                </c:pt>
                <c:pt idx="6">
                  <c:v>2.9196850950380462E-2</c:v>
                </c:pt>
                <c:pt idx="7">
                  <c:v>3.9948876844359115E-3</c:v>
                </c:pt>
                <c:pt idx="8">
                  <c:v>9.337938773012165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ctivia</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D$2:$D$10</c:f>
              <c:numCache>
                <c:formatCode>General</c:formatCode>
                <c:ptCount val="9"/>
                <c:pt idx="0">
                  <c:v>3.5553189262684304E-2</c:v>
                </c:pt>
                <c:pt idx="1">
                  <c:v>3.3297187400821043E-3</c:v>
                </c:pt>
                <c:pt idx="5">
                  <c:v>8.9253935566150119E-2</c:v>
                </c:pt>
                <c:pt idx="6">
                  <c:v>1.0816259130086371E-3</c:v>
                </c:pt>
                <c:pt idx="7">
                  <c:v>3.9005981036499236E-3</c:v>
                </c:pt>
                <c:pt idx="8">
                  <c:v>4.6970711128536702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Alpro</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E$2:$E$10</c:f>
              <c:numCache>
                <c:formatCode>General</c:formatCode>
                <c:ptCount val="9"/>
                <c:pt idx="2">
                  <c:v>8.1665312278000196E-4</c:v>
                </c:pt>
                <c:pt idx="5">
                  <c:v>7.4542954765387413E-3</c:v>
                </c:pt>
                <c:pt idx="6">
                  <c:v>3.9570279600127455E-2</c:v>
                </c:pt>
                <c:pt idx="7">
                  <c:v>2.5691885709154473E-3</c:v>
                </c:pt>
                <c:pt idx="8">
                  <c:v>1.653501452714102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F$2:$F$10</c:f>
              <c:numCache>
                <c:formatCode>General</c:formatCode>
                <c:ptCount val="9"/>
                <c:pt idx="0">
                  <c:v>9.4879095686999565E-2</c:v>
                </c:pt>
                <c:pt idx="1">
                  <c:v>3.7283803804598922E-3</c:v>
                </c:pt>
                <c:pt idx="2">
                  <c:v>2.1083886830345684E-2</c:v>
                </c:pt>
                <c:pt idx="3">
                  <c:v>2.2828030249200354E-4</c:v>
                </c:pt>
                <c:pt idx="4">
                  <c:v>6.4483563096244437E-2</c:v>
                </c:pt>
                <c:pt idx="5">
                  <c:v>0.10032840053239879</c:v>
                </c:pt>
                <c:pt idx="6">
                  <c:v>8.2223543223335485E-2</c:v>
                </c:pt>
                <c:pt idx="7">
                  <c:v>4.6809219908000514E-2</c:v>
                </c:pt>
                <c:pt idx="8">
                  <c:v>3.6847981775571366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5">
                  <c:v>3.3000000000000002E-2</c:v>
                </c:pt>
                <c:pt idx="6">
                  <c:v>1.3599999999999999E-2</c:v>
                </c:pt>
                <c:pt idx="7">
                  <c:v>0.70840000000000003</c:v>
                </c:pt>
                <c:pt idx="8">
                  <c:v>0.2449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0">
                  <c:v>2.0638368417076565E-2</c:v>
                </c:pt>
                <c:pt idx="5">
                  <c:v>0.15293677002086345</c:v>
                </c:pt>
                <c:pt idx="6">
                  <c:v>0.12070121453309685</c:v>
                </c:pt>
                <c:pt idx="7">
                  <c:v>0.31148388314378267</c:v>
                </c:pt>
                <c:pt idx="8">
                  <c:v>0.39423976388518056</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Yopro</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B$2:$B$10</c:f>
              <c:numCache>
                <c:formatCode>General</c:formatCode>
                <c:ptCount val="9"/>
                <c:pt idx="5">
                  <c:v>1.1549955100737443E-2</c:v>
                </c:pt>
                <c:pt idx="6">
                  <c:v>4.7634652134748061E-3</c:v>
                </c:pt>
                <c:pt idx="7">
                  <c:v>0.24767515546675384</c:v>
                </c:pt>
                <c:pt idx="8">
                  <c:v>8.5635367179551128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C$2:$C$10</c:f>
              <c:numCache>
                <c:formatCode>General</c:formatCode>
                <c:ptCount val="9"/>
                <c:pt idx="0">
                  <c:v>2.0509434404183343E-2</c:v>
                </c:pt>
                <c:pt idx="5">
                  <c:v>7.239497379711575E-2</c:v>
                </c:pt>
                <c:pt idx="6">
                  <c:v>2.3686419489610398E-2</c:v>
                </c:pt>
                <c:pt idx="7">
                  <c:v>1.6993457072061988E-2</c:v>
                </c:pt>
                <c:pt idx="8">
                  <c:v>0.2013529762671455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Danone</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D$2:$D$10</c:f>
              <c:numCache>
                <c:formatCode>General</c:formatCode>
                <c:ptCount val="9"/>
                <c:pt idx="5">
                  <c:v>3.7921692900600552E-2</c:v>
                </c:pt>
                <c:pt idx="6">
                  <c:v>8.516311721716685E-2</c:v>
                </c:pt>
                <c:pt idx="7">
                  <c:v>2.1134757393001281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Valio Profeel</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E$2:$E$10</c:f>
              <c:numCache>
                <c:formatCode>General</c:formatCode>
                <c:ptCount val="9"/>
                <c:pt idx="8">
                  <c:v>6.013558275200036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F$2:$F$10</c:f>
              <c:numCache>
                <c:formatCode>General</c:formatCode>
                <c:ptCount val="9"/>
                <c:pt idx="0">
                  <c:v>1.2893401289322195E-4</c:v>
                </c:pt>
                <c:pt idx="5">
                  <c:v>3.1070148222409718E-2</c:v>
                </c:pt>
                <c:pt idx="6">
                  <c:v>7.0882126128447827E-3</c:v>
                </c:pt>
                <c:pt idx="7">
                  <c:v>2.5680513211965534E-2</c:v>
                </c:pt>
                <c:pt idx="8">
                  <c:v>4.7115837686483468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5">
                  <c:v>2.7799999999999998E-2</c:v>
                </c:pt>
                <c:pt idx="6">
                  <c:v>1.7100000000000001E-2</c:v>
                </c:pt>
                <c:pt idx="7">
                  <c:v>0.74870000000000003</c:v>
                </c:pt>
                <c:pt idx="8">
                  <c:v>0.2064</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5">
                  <c:v>0.10511061492002367</c:v>
                </c:pt>
                <c:pt idx="6">
                  <c:v>0.21174527660463402</c:v>
                </c:pt>
                <c:pt idx="7">
                  <c:v>0.37429767392362551</c:v>
                </c:pt>
                <c:pt idx="8">
                  <c:v>0.3088464345517167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Yopro</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B$2:$B$10</c:f>
              <c:numCache>
                <c:formatCode>General</c:formatCode>
                <c:ptCount val="9"/>
                <c:pt idx="5">
                  <c:v>9.1833671316980045E-3</c:v>
                </c:pt>
                <c:pt idx="6">
                  <c:v>5.6603228220090743E-3</c:v>
                </c:pt>
                <c:pt idx="7">
                  <c:v>0.24741618235482304</c:v>
                </c:pt>
                <c:pt idx="8">
                  <c:v>6.8207661882342271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Danone</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C$2:$C$10</c:f>
              <c:numCache>
                <c:formatCode>General</c:formatCode>
                <c:ptCount val="9"/>
                <c:pt idx="5">
                  <c:v>7.4503551620186528E-2</c:v>
                </c:pt>
                <c:pt idx="6">
                  <c:v>0.16075178861996908</c:v>
                </c:pt>
                <c:pt idx="7">
                  <c:v>2.2374583104233632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Valio Profeel</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D$2:$D$10</c:f>
              <c:numCache>
                <c:formatCode>General</c:formatCode>
                <c:ptCount val="9"/>
                <c:pt idx="8">
                  <c:v>0.1473063458810993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Reina</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E$2:$E$10</c:f>
              <c:numCache>
                <c:formatCode>General</c:formatCode>
                <c:ptCount val="9"/>
                <c:pt idx="5">
                  <c:v>2.1423696168139144E-2</c:v>
                </c:pt>
                <c:pt idx="7">
                  <c:v>4.4988940807206113E-2</c:v>
                </c:pt>
                <c:pt idx="8">
                  <c:v>6.358329671022681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F$2:$F$10</c:f>
              <c:numCache>
                <c:formatCode>General</c:formatCode>
                <c:ptCount val="9"/>
                <c:pt idx="6">
                  <c:v>4.5333165162655863E-2</c:v>
                </c:pt>
                <c:pt idx="7">
                  <c:v>5.9517967657362753E-2</c:v>
                </c:pt>
                <c:pt idx="8">
                  <c:v>2.974913007804827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5">
                  <c:v>5.0999999999999997E-2</c:v>
                </c:pt>
                <c:pt idx="6">
                  <c:v>1.3899999999999999E-2</c:v>
                </c:pt>
                <c:pt idx="7">
                  <c:v>0.69950000000000001</c:v>
                </c:pt>
                <c:pt idx="8">
                  <c:v>0.2356</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5">
                  <c:v>0.10793606903096596</c:v>
                </c:pt>
                <c:pt idx="6">
                  <c:v>0.17753998986512773</c:v>
                </c:pt>
                <c:pt idx="7">
                  <c:v>0.36874058508697011</c:v>
                </c:pt>
                <c:pt idx="8">
                  <c:v>0.3457833560169362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Danone Group</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B$2:$B$10</c:f>
              <c:numCache>
                <c:formatCode>General</c:formatCode>
                <c:ptCount val="9"/>
                <c:pt idx="0">
                  <c:v>0.12139653469866887</c:v>
                </c:pt>
                <c:pt idx="1">
                  <c:v>5.2242847557213354E-3</c:v>
                </c:pt>
                <c:pt idx="2">
                  <c:v>1.3388853818401748E-2</c:v>
                </c:pt>
                <c:pt idx="4">
                  <c:v>5.8874049984425691E-2</c:v>
                </c:pt>
                <c:pt idx="5">
                  <c:v>0.14156088554846322</c:v>
                </c:pt>
                <c:pt idx="6">
                  <c:v>0.10011567164627781</c:v>
                </c:pt>
                <c:pt idx="7">
                  <c:v>5.2348739068168088E-2</c:v>
                </c:pt>
                <c:pt idx="8">
                  <c:v>1.4975520908426503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C$2:$C$10</c:f>
              <c:numCache>
                <c:formatCode>General</c:formatCode>
                <c:ptCount val="9"/>
                <c:pt idx="0">
                  <c:v>0.12961116915905493</c:v>
                </c:pt>
                <c:pt idx="2">
                  <c:v>6.799790648050362E-2</c:v>
                </c:pt>
                <c:pt idx="3">
                  <c:v>2.218474196152646E-3</c:v>
                </c:pt>
                <c:pt idx="4">
                  <c:v>1.214646620778601E-2</c:v>
                </c:pt>
                <c:pt idx="5">
                  <c:v>7.8333505592983133E-2</c:v>
                </c:pt>
                <c:pt idx="6">
                  <c:v>2.9196850950380462E-2</c:v>
                </c:pt>
                <c:pt idx="7">
                  <c:v>3.9948876844359115E-3</c:v>
                </c:pt>
                <c:pt idx="8">
                  <c:v>9.337938773012165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El Pastoret</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D$2:$D$10</c:f>
              <c:numCache>
                <c:formatCode>General</c:formatCode>
                <c:ptCount val="9"/>
                <c:pt idx="0">
                  <c:v>5.5450786280064526E-4</c:v>
                </c:pt>
                <c:pt idx="5">
                  <c:v>1.8116444145654213E-2</c:v>
                </c:pt>
                <c:pt idx="7">
                  <c:v>5.9743399818648645E-4</c:v>
                </c:pt>
                <c:pt idx="8">
                  <c:v>8.6855088083579533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Nestle</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E$2:$E$10</c:f>
              <c:numCache>
                <c:formatCode>General</c:formatCode>
                <c:ptCount val="9"/>
                <c:pt idx="0">
                  <c:v>4.6790091313680665E-7</c:v>
                </c:pt>
                <c:pt idx="1">
                  <c:v>1.6513229463120782E-3</c:v>
                </c:pt>
                <c:pt idx="2">
                  <c:v>3.8294016969639133E-3</c:v>
                </c:pt>
                <c:pt idx="4">
                  <c:v>4.1514131178617096E-3</c:v>
                </c:pt>
                <c:pt idx="5">
                  <c:v>8.9152028759745972E-3</c:v>
                </c:pt>
                <c:pt idx="6">
                  <c:v>3.4509604197032954E-3</c:v>
                </c:pt>
                <c:pt idx="7">
                  <c:v>1.3025314933664907E-2</c:v>
                </c:pt>
                <c:pt idx="8">
                  <c:v>7.8492038472262066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F$2:$F$10</c:f>
              <c:numCache>
                <c:formatCode>General</c:formatCode>
                <c:ptCount val="9"/>
                <c:pt idx="0">
                  <c:v>8.4807744873012219E-3</c:v>
                </c:pt>
                <c:pt idx="1">
                  <c:v>1.8249141850858335E-4</c:v>
                </c:pt>
                <c:pt idx="2">
                  <c:v>4.6822844377600245E-3</c:v>
                </c:pt>
                <c:pt idx="3">
                  <c:v>2.2828030249200354E-4</c:v>
                </c:pt>
                <c:pt idx="4">
                  <c:v>1.4580999939570345E-3</c:v>
                </c:pt>
                <c:pt idx="5">
                  <c:v>3.0020125122640979E-2</c:v>
                </c:pt>
                <c:pt idx="6">
                  <c:v>1.9737761059214164E-2</c:v>
                </c:pt>
                <c:pt idx="7">
                  <c:v>8.9193787658445271E-3</c:v>
                </c:pt>
                <c:pt idx="8">
                  <c:v>1.4741882385800192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Yopro</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B$2:$B$10</c:f>
              <c:numCache>
                <c:formatCode>General</c:formatCode>
                <c:ptCount val="9"/>
                <c:pt idx="5">
                  <c:v>2.0078161324450641E-2</c:v>
                </c:pt>
                <c:pt idx="6">
                  <c:v>5.4646395383851553E-3</c:v>
                </c:pt>
                <c:pt idx="7">
                  <c:v>0.27532945705876677</c:v>
                </c:pt>
                <c:pt idx="8">
                  <c:v>9.2757091622398702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Valio Profeel</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C$2:$C$10</c:f>
              <c:numCache>
                <c:formatCode>General</c:formatCode>
                <c:ptCount val="9"/>
                <c:pt idx="8">
                  <c:v>9.6910197160825662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Danone</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D$2:$D$10</c:f>
              <c:numCache>
                <c:formatCode>General</c:formatCode>
                <c:ptCount val="9"/>
                <c:pt idx="5">
                  <c:v>4.5862283930510103E-2</c:v>
                </c:pt>
                <c:pt idx="6">
                  <c:v>9.6086177949435622E-2</c:v>
                </c:pt>
                <c:pt idx="7">
                  <c:v>3.2277055564507641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E$2:$E$10</c:f>
              <c:numCache>
                <c:formatCode>General</c:formatCode>
                <c:ptCount val="9"/>
                <c:pt idx="6">
                  <c:v>6.9629046497732466E-2</c:v>
                </c:pt>
                <c:pt idx="7">
                  <c:v>3.4962168570384353E-2</c:v>
                </c:pt>
                <c:pt idx="8">
                  <c:v>8.219803150681297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F$2:$F$10</c:f>
              <c:numCache>
                <c:formatCode>General</c:formatCode>
                <c:ptCount val="9"/>
                <c:pt idx="5">
                  <c:v>4.1995623776005221E-2</c:v>
                </c:pt>
                <c:pt idx="6">
                  <c:v>6.3601258795744891E-3</c:v>
                </c:pt>
                <c:pt idx="7">
                  <c:v>2.6171903893311303E-2</c:v>
                </c:pt>
                <c:pt idx="8">
                  <c:v>7.3918035726898909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6">
                  <c:v>3.4599999999999999E-2</c:v>
                </c:pt>
                <c:pt idx="7">
                  <c:v>0.96540000000000004</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6">
                  <c:v>0.13927308811356887</c:v>
                </c:pt>
                <c:pt idx="7">
                  <c:v>0.82231775340255508</c:v>
                </c:pt>
                <c:pt idx="8">
                  <c:v>3.840915848387608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Yopro</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B$2:$B$10</c:f>
              <c:numCache>
                <c:formatCode>General</c:formatCode>
                <c:ptCount val="9"/>
                <c:pt idx="6">
                  <c:v>2.3560740620362241E-2</c:v>
                </c:pt>
                <c:pt idx="7">
                  <c:v>0.65702778168971399</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Danone</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C$2:$C$10</c:f>
              <c:numCache>
                <c:formatCode>General</c:formatCode>
                <c:ptCount val="9"/>
                <c:pt idx="7">
                  <c:v>0.1045353570762294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D$2:$D$10</c:f>
              <c:numCache>
                <c:formatCode>General</c:formatCode>
                <c:ptCount val="9"/>
                <c:pt idx="6">
                  <c:v>0.10013657229171125</c:v>
                </c:pt>
                <c:pt idx="8">
                  <c:v>3.840915848387608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indahls Pro+</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E$2:$E$10</c:f>
              <c:numCache>
                <c:formatCode>General</c:formatCode>
                <c:ptCount val="9"/>
                <c:pt idx="7">
                  <c:v>6.075461463661156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F$2:$F$10</c:f>
              <c:numCache>
                <c:formatCode>General</c:formatCode>
                <c:ptCount val="9"/>
                <c:pt idx="6">
                  <c:v>1.5575775201495378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6">
                  <c:v>4.5600000000000002E-2</c:v>
                </c:pt>
                <c:pt idx="7">
                  <c:v>0.9544000000000000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6">
                  <c:v>0.21875180530721572</c:v>
                </c:pt>
                <c:pt idx="7">
                  <c:v>0.78124819469278417</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Yopro</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B$2:$B$10</c:f>
              <c:numCache>
                <c:formatCode>General</c:formatCode>
                <c:ptCount val="9"/>
                <c:pt idx="6">
                  <c:v>2.4281646242917912E-2</c:v>
                </c:pt>
                <c:pt idx="7">
                  <c:v>0.507940533708696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argui</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C$2:$C$10</c:f>
              <c:numCache>
                <c:formatCode>General</c:formatCode>
                <c:ptCount val="9"/>
                <c:pt idx="6">
                  <c:v>0.1944701590642978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indahls Pro+</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D$2:$D$10</c:f>
              <c:numCache>
                <c:formatCode>General</c:formatCode>
                <c:ptCount val="9"/>
                <c:pt idx="7">
                  <c:v>0.1773252004683583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Danone</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E$2:$E$10</c:f>
              <c:numCache>
                <c:formatCode>General</c:formatCode>
                <c:ptCount val="9"/>
                <c:pt idx="7">
                  <c:v>9.598246051572960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F$2:$F$10</c:f>
              <c:numCache>
                <c:formatCode>General</c:formatCode>
                <c:ptCount val="9"/>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6">
                  <c:v>4.1300000000000003E-2</c:v>
                </c:pt>
                <c:pt idx="7">
                  <c:v>0.9587</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6">
                  <c:v>0.29106485694573947</c:v>
                </c:pt>
                <c:pt idx="7">
                  <c:v>0.7089351430542606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Yopro</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B$2:$B$10</c:f>
              <c:numCache>
                <c:formatCode>General</c:formatCode>
                <c:ptCount val="9"/>
                <c:pt idx="6">
                  <c:v>2.118106873506112E-2</c:v>
                </c:pt>
                <c:pt idx="7">
                  <c:v>0.4921430276777194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C$2:$C$10</c:f>
              <c:numCache>
                <c:formatCode>General</c:formatCode>
                <c:ptCount val="9"/>
                <c:pt idx="6">
                  <c:v>0.2698837882106783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Danone</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D$2:$D$10</c:f>
              <c:numCache>
                <c:formatCode>General</c:formatCode>
                <c:ptCount val="9"/>
                <c:pt idx="7">
                  <c:v>0.1251066109072678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indahls Pro+</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E$2:$E$10</c:f>
              <c:numCache>
                <c:formatCode>General</c:formatCode>
                <c:ptCount val="9"/>
                <c:pt idx="7">
                  <c:v>9.16855044692733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950+ GR</c:v>
                </c:pt>
                <c:pt idx="1">
                  <c:v>850-949 GR</c:v>
                </c:pt>
                <c:pt idx="2">
                  <c:v>750-849 GR</c:v>
                </c:pt>
                <c:pt idx="3">
                  <c:v>650-749 GR</c:v>
                </c:pt>
                <c:pt idx="4">
                  <c:v>550-649 GR</c:v>
                </c:pt>
                <c:pt idx="5">
                  <c:v>450-549 GR</c:v>
                </c:pt>
                <c:pt idx="6">
                  <c:v>350-449 GR</c:v>
                </c:pt>
                <c:pt idx="7">
                  <c:v>250-349 GR</c:v>
                </c:pt>
                <c:pt idx="8">
                  <c:v>0-249 GR</c:v>
                </c:pt>
              </c:strCache>
            </c:strRef>
          </c:cat>
          <c:val>
            <c:numRef>
              <c:f>Sheet1!$F$2:$F$10</c:f>
              <c:numCache>
                <c:formatCode>General</c:formatCode>
                <c:ptCount val="9"/>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08/07/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7/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7/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7/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7/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7/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7/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7/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7/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7/8/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7/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7/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7/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7/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7/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7/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7/8/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7/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7/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7/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7/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7/8/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7/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7/8/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0.xml"/><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chart" Target="../charts/chart29.xml"/><Relationship Id="rId5" Type="http://schemas.openxmlformats.org/officeDocument/2006/relationships/chart" Target="../charts/chart28.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3.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32.xml"/><Relationship Id="rId5" Type="http://schemas.openxmlformats.org/officeDocument/2006/relationships/chart" Target="../charts/chart31.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6.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35.xml"/><Relationship Id="rId5" Type="http://schemas.openxmlformats.org/officeDocument/2006/relationships/chart" Target="../charts/chart34.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9.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chart" Target="../charts/chart38.xml"/><Relationship Id="rId5" Type="http://schemas.openxmlformats.org/officeDocument/2006/relationships/chart" Target="../charts/chart37.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2.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chart" Target="../charts/chart41.xml"/><Relationship Id="rId5" Type="http://schemas.openxmlformats.org/officeDocument/2006/relationships/chart" Target="../charts/chart40.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5.xml"/><Relationship Id="rId2" Type="http://schemas.openxmlformats.org/officeDocument/2006/relationships/slideLayout" Target="../slideLayouts/slideLayout7.xml"/><Relationship Id="rId1" Type="http://schemas.openxmlformats.org/officeDocument/2006/relationships/tags" Target="../tags/tag42.xml"/><Relationship Id="rId6" Type="http://schemas.openxmlformats.org/officeDocument/2006/relationships/chart" Target="../charts/chart44.xml"/><Relationship Id="rId5" Type="http://schemas.openxmlformats.org/officeDocument/2006/relationships/chart" Target="../charts/chart43.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8.xml"/><Relationship Id="rId2" Type="http://schemas.openxmlformats.org/officeDocument/2006/relationships/slideLayout" Target="../slideLayouts/slideLayout7.xml"/><Relationship Id="rId1" Type="http://schemas.openxmlformats.org/officeDocument/2006/relationships/tags" Target="../tags/tag43.xml"/><Relationship Id="rId6" Type="http://schemas.openxmlformats.org/officeDocument/2006/relationships/chart" Target="../charts/chart47.xml"/><Relationship Id="rId5" Type="http://schemas.openxmlformats.org/officeDocument/2006/relationships/chart" Target="../charts/chart46.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1.xml"/><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chart" Target="../charts/chart50.xml"/><Relationship Id="rId5" Type="http://schemas.openxmlformats.org/officeDocument/2006/relationships/chart" Target="../charts/chart49.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4.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53.xml"/><Relationship Id="rId5" Type="http://schemas.openxmlformats.org/officeDocument/2006/relationships/chart" Target="../charts/chart52.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7.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56.xml"/><Relationship Id="rId5" Type="http://schemas.openxmlformats.org/officeDocument/2006/relationships/chart" Target="../charts/chart55.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0.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59.xml"/><Relationship Id="rId5" Type="http://schemas.openxmlformats.org/officeDocument/2006/relationships/chart" Target="../charts/chart58.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3.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chart" Target="../charts/chart62.xml"/><Relationship Id="rId5" Type="http://schemas.openxmlformats.org/officeDocument/2006/relationships/chart" Target="../charts/chart61.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6.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chart" Target="../charts/chart65.xml"/><Relationship Id="rId5" Type="http://schemas.openxmlformats.org/officeDocument/2006/relationships/chart" Target="../charts/chart64.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9.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chart" Target="../charts/chart68.xml"/><Relationship Id="rId5" Type="http://schemas.openxmlformats.org/officeDocument/2006/relationships/chart" Target="../charts/chart67.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2.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chart" Target="../charts/chart71.xml"/><Relationship Id="rId5" Type="http://schemas.openxmlformats.org/officeDocument/2006/relationships/chart" Target="../charts/chart70.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5.xml"/><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chart" Target="../charts/chart74.xml"/><Relationship Id="rId5" Type="http://schemas.openxmlformats.org/officeDocument/2006/relationships/chart" Target="../charts/chart73.xml"/><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8.xml"/><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chart" Target="../charts/chart77.xml"/><Relationship Id="rId5" Type="http://schemas.openxmlformats.org/officeDocument/2006/relationships/chart" Target="../charts/chart76.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81.xml"/><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chart" Target="../charts/chart80.xml"/><Relationship Id="rId5" Type="http://schemas.openxmlformats.org/officeDocument/2006/relationships/chart" Target="../charts/chart79.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84.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chart" Target="../charts/chart83.xml"/><Relationship Id="rId5" Type="http://schemas.openxmlformats.org/officeDocument/2006/relationships/chart" Target="../charts/chart82.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87.xml"/><Relationship Id="rId2" Type="http://schemas.openxmlformats.org/officeDocument/2006/relationships/slideLayout" Target="../slideLayouts/slideLayout7.xml"/><Relationship Id="rId1" Type="http://schemas.openxmlformats.org/officeDocument/2006/relationships/tags" Target="../tags/tag56.xml"/><Relationship Id="rId6" Type="http://schemas.openxmlformats.org/officeDocument/2006/relationships/chart" Target="../charts/chart86.xml"/><Relationship Id="rId5" Type="http://schemas.openxmlformats.org/officeDocument/2006/relationships/chart" Target="../charts/chart85.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8.xml"/><Relationship Id="rId5" Type="http://schemas.openxmlformats.org/officeDocument/2006/relationships/chart" Target="../charts/chart7.xml"/><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0.xml"/><Relationship Id="rId2" Type="http://schemas.openxmlformats.org/officeDocument/2006/relationships/slideLayout" Target="../slideLayouts/slideLayout7.xml"/><Relationship Id="rId1" Type="http://schemas.openxmlformats.org/officeDocument/2006/relationships/tags" Target="../tags/tag57.xml"/><Relationship Id="rId6" Type="http://schemas.openxmlformats.org/officeDocument/2006/relationships/chart" Target="../charts/chart89.xml"/><Relationship Id="rId5" Type="http://schemas.openxmlformats.org/officeDocument/2006/relationships/chart" Target="../charts/chart88.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3.xml"/><Relationship Id="rId2" Type="http://schemas.openxmlformats.org/officeDocument/2006/relationships/slideLayout" Target="../slideLayouts/slideLayout7.xml"/><Relationship Id="rId1" Type="http://schemas.openxmlformats.org/officeDocument/2006/relationships/tags" Target="../tags/tag58.xml"/><Relationship Id="rId6" Type="http://schemas.openxmlformats.org/officeDocument/2006/relationships/chart" Target="../charts/chart92.xml"/><Relationship Id="rId5" Type="http://schemas.openxmlformats.org/officeDocument/2006/relationships/chart" Target="../charts/chart91.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6.xml"/><Relationship Id="rId2" Type="http://schemas.openxmlformats.org/officeDocument/2006/relationships/slideLayout" Target="../slideLayouts/slideLayout7.xml"/><Relationship Id="rId1" Type="http://schemas.openxmlformats.org/officeDocument/2006/relationships/tags" Target="../tags/tag59.xml"/><Relationship Id="rId6" Type="http://schemas.openxmlformats.org/officeDocument/2006/relationships/chart" Target="../charts/chart95.xml"/><Relationship Id="rId5" Type="http://schemas.openxmlformats.org/officeDocument/2006/relationships/chart" Target="../charts/chart94.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9.xml"/><Relationship Id="rId2" Type="http://schemas.openxmlformats.org/officeDocument/2006/relationships/slideLayout" Target="../slideLayouts/slideLayout7.xml"/><Relationship Id="rId1" Type="http://schemas.openxmlformats.org/officeDocument/2006/relationships/tags" Target="../tags/tag60.xml"/><Relationship Id="rId6" Type="http://schemas.openxmlformats.org/officeDocument/2006/relationships/chart" Target="../charts/chart98.xml"/><Relationship Id="rId5" Type="http://schemas.openxmlformats.org/officeDocument/2006/relationships/chart" Target="../charts/chart97.xml"/><Relationship Id="rId4" Type="http://schemas.openxmlformats.org/officeDocument/2006/relationships/image" Target="../media/image28.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02.xml"/><Relationship Id="rId2" Type="http://schemas.openxmlformats.org/officeDocument/2006/relationships/slideLayout" Target="../slideLayouts/slideLayout7.xml"/><Relationship Id="rId1" Type="http://schemas.openxmlformats.org/officeDocument/2006/relationships/tags" Target="../tags/tag61.xml"/><Relationship Id="rId6" Type="http://schemas.openxmlformats.org/officeDocument/2006/relationships/chart" Target="../charts/chart101.xml"/><Relationship Id="rId5" Type="http://schemas.openxmlformats.org/officeDocument/2006/relationships/chart" Target="../charts/chart100.xml"/><Relationship Id="rId4" Type="http://schemas.openxmlformats.org/officeDocument/2006/relationships/image" Target="../media/image28.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05.xml"/><Relationship Id="rId2" Type="http://schemas.openxmlformats.org/officeDocument/2006/relationships/slideLayout" Target="../slideLayouts/slideLayout7.xml"/><Relationship Id="rId1" Type="http://schemas.openxmlformats.org/officeDocument/2006/relationships/tags" Target="../tags/tag62.xml"/><Relationship Id="rId6" Type="http://schemas.openxmlformats.org/officeDocument/2006/relationships/chart" Target="../charts/chart104.xml"/><Relationship Id="rId5" Type="http://schemas.openxmlformats.org/officeDocument/2006/relationships/chart" Target="../charts/chart103.xml"/><Relationship Id="rId4" Type="http://schemas.openxmlformats.org/officeDocument/2006/relationships/image" Target="../media/image28.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08.xml"/><Relationship Id="rId2" Type="http://schemas.openxmlformats.org/officeDocument/2006/relationships/slideLayout" Target="../slideLayouts/slideLayout7.xml"/><Relationship Id="rId1" Type="http://schemas.openxmlformats.org/officeDocument/2006/relationships/tags" Target="../tags/tag63.xml"/><Relationship Id="rId6" Type="http://schemas.openxmlformats.org/officeDocument/2006/relationships/chart" Target="../charts/chart107.xml"/><Relationship Id="rId5" Type="http://schemas.openxmlformats.org/officeDocument/2006/relationships/chart" Target="../charts/chart106.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11.xml"/><Relationship Id="rId5" Type="http://schemas.openxmlformats.org/officeDocument/2006/relationships/chart" Target="../charts/chart10.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14.xml"/><Relationship Id="rId5" Type="http://schemas.openxmlformats.org/officeDocument/2006/relationships/chart" Target="../charts/chart13.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17.xml"/><Relationship Id="rId5" Type="http://schemas.openxmlformats.org/officeDocument/2006/relationships/chart" Target="../charts/chart16.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20.xml"/><Relationship Id="rId5" Type="http://schemas.openxmlformats.org/officeDocument/2006/relationships/chart" Target="../charts/chart19.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23.xml"/><Relationship Id="rId5" Type="http://schemas.openxmlformats.org/officeDocument/2006/relationships/chart" Target="../charts/chart22.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7.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26.xml"/><Relationship Id="rId5" Type="http://schemas.openxmlformats.org/officeDocument/2006/relationships/chart" Target="../charts/chart25.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Yogurt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Group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Group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Group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237">
                <a:tc>
                  <a:txBody>
                    <a:bodyPr/>
                    <a:lstStyle/>
                    <a:p>
                      <a:pPr algn="ctr">
                        <a:defRPr sz="800">
                          <a:latin typeface="Nexa Bold"/>
                        </a:defRPr>
                      </a:pPr>
                      <a:r>
                        <a:t>9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358237">
                <a:tc>
                  <a:txBody>
                    <a:bodyPr/>
                    <a:lstStyle/>
                    <a:p>
                      <a:pPr algn="ctr">
                        <a:defRPr sz="800">
                          <a:latin typeface="Nexa Bold"/>
                        </a:defRPr>
                      </a:pPr>
                      <a:r>
                        <a:t>850-9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358237">
                <a:tc>
                  <a:txBody>
                    <a:bodyPr/>
                    <a:lstStyle/>
                    <a:p>
                      <a:pPr algn="ctr">
                        <a:defRPr sz="800">
                          <a:latin typeface="Nexa Bold"/>
                        </a:defRPr>
                      </a:pPr>
                      <a:r>
                        <a:t>750-8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358237">
                <a:tc>
                  <a:txBody>
                    <a:bodyPr/>
                    <a:lstStyle/>
                    <a:p>
                      <a:pPr algn="ctr">
                        <a:defRPr sz="800">
                          <a:latin typeface="Nexa Bold"/>
                        </a:defRPr>
                      </a:pPr>
                      <a:r>
                        <a:t>650-7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358237">
                <a:tc>
                  <a:txBody>
                    <a:bodyPr/>
                    <a:lstStyle/>
                    <a:p>
                      <a:pPr algn="ctr">
                        <a:defRPr sz="800">
                          <a:latin typeface="Nexa Bold"/>
                        </a:defRPr>
                      </a:pPr>
                      <a:r>
                        <a:t>550-6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358237">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358237">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358237">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358237">
                <a:tc>
                  <a:txBody>
                    <a:bodyPr/>
                    <a:lstStyle/>
                    <a:p>
                      <a:pPr algn="ctr">
                        <a:defRPr sz="800">
                          <a:latin typeface="Nexa Bold"/>
                        </a:defRPr>
                      </a:pPr>
                      <a:r>
                        <a:t>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39582725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Protein Spoon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Group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Group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Group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237">
                <a:tc>
                  <a:txBody>
                    <a:bodyPr/>
                    <a:lstStyle/>
                    <a:p>
                      <a:pPr algn="ctr">
                        <a:defRPr sz="800">
                          <a:latin typeface="Nexa Bold"/>
                        </a:defRPr>
                      </a:pPr>
                      <a:r>
                        <a:t>9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358237">
                <a:tc>
                  <a:txBody>
                    <a:bodyPr/>
                    <a:lstStyle/>
                    <a:p>
                      <a:pPr algn="ctr">
                        <a:defRPr sz="800">
                          <a:latin typeface="Nexa Bold"/>
                        </a:defRPr>
                      </a:pPr>
                      <a:r>
                        <a:t>850-9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358237">
                <a:tc>
                  <a:txBody>
                    <a:bodyPr/>
                    <a:lstStyle/>
                    <a:p>
                      <a:pPr algn="ctr">
                        <a:defRPr sz="800">
                          <a:latin typeface="Nexa Bold"/>
                        </a:defRPr>
                      </a:pPr>
                      <a:r>
                        <a:t>750-8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358237">
                <a:tc>
                  <a:txBody>
                    <a:bodyPr/>
                    <a:lstStyle/>
                    <a:p>
                      <a:pPr algn="ctr">
                        <a:defRPr sz="800">
                          <a:latin typeface="Nexa Bold"/>
                        </a:defRPr>
                      </a:pPr>
                      <a:r>
                        <a:t>650-7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358237">
                <a:tc>
                  <a:txBody>
                    <a:bodyPr/>
                    <a:lstStyle/>
                    <a:p>
                      <a:pPr algn="ctr">
                        <a:defRPr sz="800">
                          <a:latin typeface="Nexa Bold"/>
                        </a:defRPr>
                      </a:pPr>
                      <a:r>
                        <a:t>550-6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358237">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358237">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358237">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358237">
                <a:tc>
                  <a:txBody>
                    <a:bodyPr/>
                    <a:lstStyle/>
                    <a:p>
                      <a:pPr algn="ctr">
                        <a:defRPr sz="800">
                          <a:latin typeface="Nexa Bold"/>
                        </a:defRPr>
                      </a:pPr>
                      <a:r>
                        <a:t>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43978758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Protein Spoon | Ahorrama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Group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Group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Group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237">
                <a:tc>
                  <a:txBody>
                    <a:bodyPr/>
                    <a:lstStyle/>
                    <a:p>
                      <a:pPr algn="ctr">
                        <a:defRPr sz="800">
                          <a:latin typeface="Nexa Bold"/>
                        </a:defRPr>
                      </a:pPr>
                      <a:r>
                        <a:t>9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358237">
                <a:tc>
                  <a:txBody>
                    <a:bodyPr/>
                    <a:lstStyle/>
                    <a:p>
                      <a:pPr algn="ctr">
                        <a:defRPr sz="800">
                          <a:latin typeface="Nexa Bold"/>
                        </a:defRPr>
                      </a:pPr>
                      <a:r>
                        <a:t>850-9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358237">
                <a:tc>
                  <a:txBody>
                    <a:bodyPr/>
                    <a:lstStyle/>
                    <a:p>
                      <a:pPr algn="ctr">
                        <a:defRPr sz="800">
                          <a:latin typeface="Nexa Bold"/>
                        </a:defRPr>
                      </a:pPr>
                      <a:r>
                        <a:t>750-8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358237">
                <a:tc>
                  <a:txBody>
                    <a:bodyPr/>
                    <a:lstStyle/>
                    <a:p>
                      <a:pPr algn="ctr">
                        <a:defRPr sz="800">
                          <a:latin typeface="Nexa Bold"/>
                        </a:defRPr>
                      </a:pPr>
                      <a:r>
                        <a:t>650-7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358237">
                <a:tc>
                  <a:txBody>
                    <a:bodyPr/>
                    <a:lstStyle/>
                    <a:p>
                      <a:pPr algn="ctr">
                        <a:defRPr sz="800">
                          <a:latin typeface="Nexa Bold"/>
                        </a:defRPr>
                      </a:pPr>
                      <a:r>
                        <a:t>550-6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358237">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358237">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358237">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358237">
                <a:tc>
                  <a:txBody>
                    <a:bodyPr/>
                    <a:lstStyle/>
                    <a:p>
                      <a:pPr algn="ctr">
                        <a:defRPr sz="800">
                          <a:latin typeface="Nexa Bold"/>
                        </a:defRPr>
                      </a:pPr>
                      <a:r>
                        <a:t>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237674068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Protein Spoon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Group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Group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Group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237">
                <a:tc>
                  <a:txBody>
                    <a:bodyPr/>
                    <a:lstStyle/>
                    <a:p>
                      <a:pPr algn="ctr">
                        <a:defRPr sz="800">
                          <a:latin typeface="Nexa Bold"/>
                        </a:defRPr>
                      </a:pPr>
                      <a:r>
                        <a:t>9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358237">
                <a:tc>
                  <a:txBody>
                    <a:bodyPr/>
                    <a:lstStyle/>
                    <a:p>
                      <a:pPr algn="ctr">
                        <a:defRPr sz="800">
                          <a:latin typeface="Nexa Bold"/>
                        </a:defRPr>
                      </a:pPr>
                      <a:r>
                        <a:t>850-9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358237">
                <a:tc>
                  <a:txBody>
                    <a:bodyPr/>
                    <a:lstStyle/>
                    <a:p>
                      <a:pPr algn="ctr">
                        <a:defRPr sz="800">
                          <a:latin typeface="Nexa Bold"/>
                        </a:defRPr>
                      </a:pPr>
                      <a:r>
                        <a:t>750-8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358237">
                <a:tc>
                  <a:txBody>
                    <a:bodyPr/>
                    <a:lstStyle/>
                    <a:p>
                      <a:pPr algn="ctr">
                        <a:defRPr sz="800">
                          <a:latin typeface="Nexa Bold"/>
                        </a:defRPr>
                      </a:pPr>
                      <a:r>
                        <a:t>650-7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358237">
                <a:tc>
                  <a:txBody>
                    <a:bodyPr/>
                    <a:lstStyle/>
                    <a:p>
                      <a:pPr algn="ctr">
                        <a:defRPr sz="800">
                          <a:latin typeface="Nexa Bold"/>
                        </a:defRPr>
                      </a:pPr>
                      <a:r>
                        <a:t>550-6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358237">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358237">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358237">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358237">
                <a:tc>
                  <a:txBody>
                    <a:bodyPr/>
                    <a:lstStyle/>
                    <a:p>
                      <a:pPr algn="ctr">
                        <a:defRPr sz="800">
                          <a:latin typeface="Nexa Bold"/>
                        </a:defRPr>
                      </a:pPr>
                      <a:r>
                        <a:t>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412416759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Yogurt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237">
                <a:tc>
                  <a:txBody>
                    <a:bodyPr/>
                    <a:lstStyle/>
                    <a:p>
                      <a:pPr algn="ctr">
                        <a:defRPr sz="800">
                          <a:latin typeface="Nexa Bold"/>
                        </a:defRPr>
                      </a:pPr>
                      <a:r>
                        <a:t>9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358237">
                <a:tc>
                  <a:txBody>
                    <a:bodyPr/>
                    <a:lstStyle/>
                    <a:p>
                      <a:pPr algn="ctr">
                        <a:defRPr sz="800">
                          <a:latin typeface="Nexa Bold"/>
                        </a:defRPr>
                      </a:pPr>
                      <a:r>
                        <a:t>850-9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358237">
                <a:tc>
                  <a:txBody>
                    <a:bodyPr/>
                    <a:lstStyle/>
                    <a:p>
                      <a:pPr algn="ctr">
                        <a:defRPr sz="800">
                          <a:latin typeface="Nexa Bold"/>
                        </a:defRPr>
                      </a:pPr>
                      <a:r>
                        <a:t>750-8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358237">
                <a:tc>
                  <a:txBody>
                    <a:bodyPr/>
                    <a:lstStyle/>
                    <a:p>
                      <a:pPr algn="ctr">
                        <a:defRPr sz="800">
                          <a:latin typeface="Nexa Bold"/>
                        </a:defRPr>
                      </a:pPr>
                      <a:r>
                        <a:t>650-7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358237">
                <a:tc>
                  <a:txBody>
                    <a:bodyPr/>
                    <a:lstStyle/>
                    <a:p>
                      <a:pPr algn="ctr">
                        <a:defRPr sz="800">
                          <a:latin typeface="Nexa Bold"/>
                        </a:defRPr>
                      </a:pPr>
                      <a:r>
                        <a:t>550-6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358237">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358237">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358237">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358237">
                <a:tc>
                  <a:txBody>
                    <a:bodyPr/>
                    <a:lstStyle/>
                    <a:p>
                      <a:pPr algn="ctr">
                        <a:defRPr sz="800">
                          <a:latin typeface="Nexa Bold"/>
                        </a:defRPr>
                      </a:pPr>
                      <a:r>
                        <a:t>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296847448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Yogurt | Ahorrama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237">
                <a:tc>
                  <a:txBody>
                    <a:bodyPr/>
                    <a:lstStyle/>
                    <a:p>
                      <a:pPr algn="ctr">
                        <a:defRPr sz="800">
                          <a:latin typeface="Nexa Bold"/>
                        </a:defRPr>
                      </a:pPr>
                      <a:r>
                        <a:t>9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358237">
                <a:tc>
                  <a:txBody>
                    <a:bodyPr/>
                    <a:lstStyle/>
                    <a:p>
                      <a:pPr algn="ctr">
                        <a:defRPr sz="800">
                          <a:latin typeface="Nexa Bold"/>
                        </a:defRPr>
                      </a:pPr>
                      <a:r>
                        <a:t>850-9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358237">
                <a:tc>
                  <a:txBody>
                    <a:bodyPr/>
                    <a:lstStyle/>
                    <a:p>
                      <a:pPr algn="ctr">
                        <a:defRPr sz="800">
                          <a:latin typeface="Nexa Bold"/>
                        </a:defRPr>
                      </a:pPr>
                      <a:r>
                        <a:t>750-8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358237">
                <a:tc>
                  <a:txBody>
                    <a:bodyPr/>
                    <a:lstStyle/>
                    <a:p>
                      <a:pPr algn="ctr">
                        <a:defRPr sz="800">
                          <a:latin typeface="Nexa Bold"/>
                        </a:defRPr>
                      </a:pPr>
                      <a:r>
                        <a:t>650-7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358237">
                <a:tc>
                  <a:txBody>
                    <a:bodyPr/>
                    <a:lstStyle/>
                    <a:p>
                      <a:pPr algn="ctr">
                        <a:defRPr sz="800">
                          <a:latin typeface="Nexa Bold"/>
                        </a:defRPr>
                      </a:pPr>
                      <a:r>
                        <a:t>550-6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358237">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358237">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358237">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358237">
                <a:tc>
                  <a:txBody>
                    <a:bodyPr/>
                    <a:lstStyle/>
                    <a:p>
                      <a:pPr algn="ctr">
                        <a:defRPr sz="800">
                          <a:latin typeface="Nexa Bold"/>
                        </a:defRPr>
                      </a:pPr>
                      <a:r>
                        <a:t>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17969816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Yogurt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237">
                <a:tc>
                  <a:txBody>
                    <a:bodyPr/>
                    <a:lstStyle/>
                    <a:p>
                      <a:pPr algn="ctr">
                        <a:defRPr sz="800">
                          <a:latin typeface="Nexa Bold"/>
                        </a:defRPr>
                      </a:pPr>
                      <a:r>
                        <a:t>9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358237">
                <a:tc>
                  <a:txBody>
                    <a:bodyPr/>
                    <a:lstStyle/>
                    <a:p>
                      <a:pPr algn="ctr">
                        <a:defRPr sz="800">
                          <a:latin typeface="Nexa Bold"/>
                        </a:defRPr>
                      </a:pPr>
                      <a:r>
                        <a:t>850-9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358237">
                <a:tc>
                  <a:txBody>
                    <a:bodyPr/>
                    <a:lstStyle/>
                    <a:p>
                      <a:pPr algn="ctr">
                        <a:defRPr sz="800">
                          <a:latin typeface="Nexa Bold"/>
                        </a:defRPr>
                      </a:pPr>
                      <a:r>
                        <a:t>750-8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358237">
                <a:tc>
                  <a:txBody>
                    <a:bodyPr/>
                    <a:lstStyle/>
                    <a:p>
                      <a:pPr algn="ctr">
                        <a:defRPr sz="800">
                          <a:latin typeface="Nexa Bold"/>
                        </a:defRPr>
                      </a:pPr>
                      <a:r>
                        <a:t>650-7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358237">
                <a:tc>
                  <a:txBody>
                    <a:bodyPr/>
                    <a:lstStyle/>
                    <a:p>
                      <a:pPr algn="ctr">
                        <a:defRPr sz="800">
                          <a:latin typeface="Nexa Bold"/>
                        </a:defRPr>
                      </a:pPr>
                      <a:r>
                        <a:t>550-6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358237">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358237">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358237">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358237">
                <a:tc>
                  <a:txBody>
                    <a:bodyPr/>
                    <a:lstStyle/>
                    <a:p>
                      <a:pPr algn="ctr">
                        <a:defRPr sz="800">
                          <a:latin typeface="Nexa Bold"/>
                        </a:defRPr>
                      </a:pPr>
                      <a:r>
                        <a:t>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348904118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Protein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237">
                <a:tc>
                  <a:txBody>
                    <a:bodyPr/>
                    <a:lstStyle/>
                    <a:p>
                      <a:pPr algn="ctr">
                        <a:defRPr sz="800">
                          <a:latin typeface="Nexa Bold"/>
                        </a:defRPr>
                      </a:pPr>
                      <a:r>
                        <a:t>9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358237">
                <a:tc>
                  <a:txBody>
                    <a:bodyPr/>
                    <a:lstStyle/>
                    <a:p>
                      <a:pPr algn="ctr">
                        <a:defRPr sz="800">
                          <a:latin typeface="Nexa Bold"/>
                        </a:defRPr>
                      </a:pPr>
                      <a:r>
                        <a:t>850-9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358237">
                <a:tc>
                  <a:txBody>
                    <a:bodyPr/>
                    <a:lstStyle/>
                    <a:p>
                      <a:pPr algn="ctr">
                        <a:defRPr sz="800">
                          <a:latin typeface="Nexa Bold"/>
                        </a:defRPr>
                      </a:pPr>
                      <a:r>
                        <a:t>750-8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358237">
                <a:tc>
                  <a:txBody>
                    <a:bodyPr/>
                    <a:lstStyle/>
                    <a:p>
                      <a:pPr algn="ctr">
                        <a:defRPr sz="800">
                          <a:latin typeface="Nexa Bold"/>
                        </a:defRPr>
                      </a:pPr>
                      <a:r>
                        <a:t>650-7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358237">
                <a:tc>
                  <a:txBody>
                    <a:bodyPr/>
                    <a:lstStyle/>
                    <a:p>
                      <a:pPr algn="ctr">
                        <a:defRPr sz="800">
                          <a:latin typeface="Nexa Bold"/>
                        </a:defRPr>
                      </a:pPr>
                      <a:r>
                        <a:t>550-6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358237">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358237">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358237">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358237">
                <a:tc>
                  <a:txBody>
                    <a:bodyPr/>
                    <a:lstStyle/>
                    <a:p>
                      <a:pPr algn="ctr">
                        <a:defRPr sz="800">
                          <a:latin typeface="Nexa Bold"/>
                        </a:defRPr>
                      </a:pPr>
                      <a:r>
                        <a:t>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21350756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Protein | Ahorrama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237">
                <a:tc>
                  <a:txBody>
                    <a:bodyPr/>
                    <a:lstStyle/>
                    <a:p>
                      <a:pPr algn="ctr">
                        <a:defRPr sz="800">
                          <a:latin typeface="Nexa Bold"/>
                        </a:defRPr>
                      </a:pPr>
                      <a:r>
                        <a:t>9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358237">
                <a:tc>
                  <a:txBody>
                    <a:bodyPr/>
                    <a:lstStyle/>
                    <a:p>
                      <a:pPr algn="ctr">
                        <a:defRPr sz="800">
                          <a:latin typeface="Nexa Bold"/>
                        </a:defRPr>
                      </a:pPr>
                      <a:r>
                        <a:t>850-9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358237">
                <a:tc>
                  <a:txBody>
                    <a:bodyPr/>
                    <a:lstStyle/>
                    <a:p>
                      <a:pPr algn="ctr">
                        <a:defRPr sz="800">
                          <a:latin typeface="Nexa Bold"/>
                        </a:defRPr>
                      </a:pPr>
                      <a:r>
                        <a:t>750-8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358237">
                <a:tc>
                  <a:txBody>
                    <a:bodyPr/>
                    <a:lstStyle/>
                    <a:p>
                      <a:pPr algn="ctr">
                        <a:defRPr sz="800">
                          <a:latin typeface="Nexa Bold"/>
                        </a:defRPr>
                      </a:pPr>
                      <a:r>
                        <a:t>650-7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358237">
                <a:tc>
                  <a:txBody>
                    <a:bodyPr/>
                    <a:lstStyle/>
                    <a:p>
                      <a:pPr algn="ctr">
                        <a:defRPr sz="800">
                          <a:latin typeface="Nexa Bold"/>
                        </a:defRPr>
                      </a:pPr>
                      <a:r>
                        <a:t>550-6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358237">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358237">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358237">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358237">
                <a:tc>
                  <a:txBody>
                    <a:bodyPr/>
                    <a:lstStyle/>
                    <a:p>
                      <a:pPr algn="ctr">
                        <a:defRPr sz="800">
                          <a:latin typeface="Nexa Bold"/>
                        </a:defRPr>
                      </a:pPr>
                      <a:r>
                        <a:t>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426680469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Protein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237">
                <a:tc>
                  <a:txBody>
                    <a:bodyPr/>
                    <a:lstStyle/>
                    <a:p>
                      <a:pPr algn="ctr">
                        <a:defRPr sz="800">
                          <a:latin typeface="Nexa Bold"/>
                        </a:defRPr>
                      </a:pPr>
                      <a:r>
                        <a:t>9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358237">
                <a:tc>
                  <a:txBody>
                    <a:bodyPr/>
                    <a:lstStyle/>
                    <a:p>
                      <a:pPr algn="ctr">
                        <a:defRPr sz="800">
                          <a:latin typeface="Nexa Bold"/>
                        </a:defRPr>
                      </a:pPr>
                      <a:r>
                        <a:t>850-9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358237">
                <a:tc>
                  <a:txBody>
                    <a:bodyPr/>
                    <a:lstStyle/>
                    <a:p>
                      <a:pPr algn="ctr">
                        <a:defRPr sz="800">
                          <a:latin typeface="Nexa Bold"/>
                        </a:defRPr>
                      </a:pPr>
                      <a:r>
                        <a:t>750-8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358237">
                <a:tc>
                  <a:txBody>
                    <a:bodyPr/>
                    <a:lstStyle/>
                    <a:p>
                      <a:pPr algn="ctr">
                        <a:defRPr sz="800">
                          <a:latin typeface="Nexa Bold"/>
                        </a:defRPr>
                      </a:pPr>
                      <a:r>
                        <a:t>650-7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358237">
                <a:tc>
                  <a:txBody>
                    <a:bodyPr/>
                    <a:lstStyle/>
                    <a:p>
                      <a:pPr algn="ctr">
                        <a:defRPr sz="800">
                          <a:latin typeface="Nexa Bold"/>
                        </a:defRPr>
                      </a:pPr>
                      <a:r>
                        <a:t>550-6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358237">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358237">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358237">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358237">
                <a:tc>
                  <a:txBody>
                    <a:bodyPr/>
                    <a:lstStyle/>
                    <a:p>
                      <a:pPr algn="ctr">
                        <a:defRPr sz="800">
                          <a:latin typeface="Nexa Bold"/>
                        </a:defRPr>
                      </a:pPr>
                      <a:r>
                        <a:t>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16635204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Protein Drink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237">
                <a:tc>
                  <a:txBody>
                    <a:bodyPr/>
                    <a:lstStyle/>
                    <a:p>
                      <a:pPr algn="ctr">
                        <a:defRPr sz="800">
                          <a:latin typeface="Nexa Bold"/>
                        </a:defRPr>
                      </a:pPr>
                      <a:r>
                        <a:t>9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358237">
                <a:tc>
                  <a:txBody>
                    <a:bodyPr/>
                    <a:lstStyle/>
                    <a:p>
                      <a:pPr algn="ctr">
                        <a:defRPr sz="800">
                          <a:latin typeface="Nexa Bold"/>
                        </a:defRPr>
                      </a:pPr>
                      <a:r>
                        <a:t>850-9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358237">
                <a:tc>
                  <a:txBody>
                    <a:bodyPr/>
                    <a:lstStyle/>
                    <a:p>
                      <a:pPr algn="ctr">
                        <a:defRPr sz="800">
                          <a:latin typeface="Nexa Bold"/>
                        </a:defRPr>
                      </a:pPr>
                      <a:r>
                        <a:t>750-8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358237">
                <a:tc>
                  <a:txBody>
                    <a:bodyPr/>
                    <a:lstStyle/>
                    <a:p>
                      <a:pPr algn="ctr">
                        <a:defRPr sz="800">
                          <a:latin typeface="Nexa Bold"/>
                        </a:defRPr>
                      </a:pPr>
                      <a:r>
                        <a:t>650-7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358237">
                <a:tc>
                  <a:txBody>
                    <a:bodyPr/>
                    <a:lstStyle/>
                    <a:p>
                      <a:pPr algn="ctr">
                        <a:defRPr sz="800">
                          <a:latin typeface="Nexa Bold"/>
                        </a:defRPr>
                      </a:pPr>
                      <a:r>
                        <a:t>550-6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358237">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358237">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358237">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358237">
                <a:tc>
                  <a:txBody>
                    <a:bodyPr/>
                    <a:lstStyle/>
                    <a:p>
                      <a:pPr algn="ctr">
                        <a:defRPr sz="800">
                          <a:latin typeface="Nexa Bold"/>
                        </a:defRPr>
                      </a:pPr>
                      <a:r>
                        <a:t>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9223421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Yogurt | Ahorrama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Group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Group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Group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237">
                <a:tc>
                  <a:txBody>
                    <a:bodyPr/>
                    <a:lstStyle/>
                    <a:p>
                      <a:pPr algn="ctr">
                        <a:defRPr sz="800">
                          <a:latin typeface="Nexa Bold"/>
                        </a:defRPr>
                      </a:pPr>
                      <a:r>
                        <a:t>9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358237">
                <a:tc>
                  <a:txBody>
                    <a:bodyPr/>
                    <a:lstStyle/>
                    <a:p>
                      <a:pPr algn="ctr">
                        <a:defRPr sz="800">
                          <a:latin typeface="Nexa Bold"/>
                        </a:defRPr>
                      </a:pPr>
                      <a:r>
                        <a:t>850-9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358237">
                <a:tc>
                  <a:txBody>
                    <a:bodyPr/>
                    <a:lstStyle/>
                    <a:p>
                      <a:pPr algn="ctr">
                        <a:defRPr sz="800">
                          <a:latin typeface="Nexa Bold"/>
                        </a:defRPr>
                      </a:pPr>
                      <a:r>
                        <a:t>750-8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358237">
                <a:tc>
                  <a:txBody>
                    <a:bodyPr/>
                    <a:lstStyle/>
                    <a:p>
                      <a:pPr algn="ctr">
                        <a:defRPr sz="800">
                          <a:latin typeface="Nexa Bold"/>
                        </a:defRPr>
                      </a:pPr>
                      <a:r>
                        <a:t>650-7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358237">
                <a:tc>
                  <a:txBody>
                    <a:bodyPr/>
                    <a:lstStyle/>
                    <a:p>
                      <a:pPr algn="ctr">
                        <a:defRPr sz="800">
                          <a:latin typeface="Nexa Bold"/>
                        </a:defRPr>
                      </a:pPr>
                      <a:r>
                        <a:t>550-6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358237">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358237">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358237">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358237">
                <a:tc>
                  <a:txBody>
                    <a:bodyPr/>
                    <a:lstStyle/>
                    <a:p>
                      <a:pPr algn="ctr">
                        <a:defRPr sz="800">
                          <a:latin typeface="Nexa Bold"/>
                        </a:defRPr>
                      </a:pPr>
                      <a:r>
                        <a:t>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32611230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Protein Drink | Ahorrama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237">
                <a:tc>
                  <a:txBody>
                    <a:bodyPr/>
                    <a:lstStyle/>
                    <a:p>
                      <a:pPr algn="ctr">
                        <a:defRPr sz="800">
                          <a:latin typeface="Nexa Bold"/>
                        </a:defRPr>
                      </a:pPr>
                      <a:r>
                        <a:t>9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358237">
                <a:tc>
                  <a:txBody>
                    <a:bodyPr/>
                    <a:lstStyle/>
                    <a:p>
                      <a:pPr algn="ctr">
                        <a:defRPr sz="800">
                          <a:latin typeface="Nexa Bold"/>
                        </a:defRPr>
                      </a:pPr>
                      <a:r>
                        <a:t>850-9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358237">
                <a:tc>
                  <a:txBody>
                    <a:bodyPr/>
                    <a:lstStyle/>
                    <a:p>
                      <a:pPr algn="ctr">
                        <a:defRPr sz="800">
                          <a:latin typeface="Nexa Bold"/>
                        </a:defRPr>
                      </a:pPr>
                      <a:r>
                        <a:t>750-8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358237">
                <a:tc>
                  <a:txBody>
                    <a:bodyPr/>
                    <a:lstStyle/>
                    <a:p>
                      <a:pPr algn="ctr">
                        <a:defRPr sz="800">
                          <a:latin typeface="Nexa Bold"/>
                        </a:defRPr>
                      </a:pPr>
                      <a:r>
                        <a:t>650-7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358237">
                <a:tc>
                  <a:txBody>
                    <a:bodyPr/>
                    <a:lstStyle/>
                    <a:p>
                      <a:pPr algn="ctr">
                        <a:defRPr sz="800">
                          <a:latin typeface="Nexa Bold"/>
                        </a:defRPr>
                      </a:pPr>
                      <a:r>
                        <a:t>550-6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358237">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358237">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358237">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358237">
                <a:tc>
                  <a:txBody>
                    <a:bodyPr/>
                    <a:lstStyle/>
                    <a:p>
                      <a:pPr algn="ctr">
                        <a:defRPr sz="800">
                          <a:latin typeface="Nexa Bold"/>
                        </a:defRPr>
                      </a:pPr>
                      <a:r>
                        <a:t>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343010289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Protein Drink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237">
                <a:tc>
                  <a:txBody>
                    <a:bodyPr/>
                    <a:lstStyle/>
                    <a:p>
                      <a:pPr algn="ctr">
                        <a:defRPr sz="800">
                          <a:latin typeface="Nexa Bold"/>
                        </a:defRPr>
                      </a:pPr>
                      <a:r>
                        <a:t>9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358237">
                <a:tc>
                  <a:txBody>
                    <a:bodyPr/>
                    <a:lstStyle/>
                    <a:p>
                      <a:pPr algn="ctr">
                        <a:defRPr sz="800">
                          <a:latin typeface="Nexa Bold"/>
                        </a:defRPr>
                      </a:pPr>
                      <a:r>
                        <a:t>850-9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358237">
                <a:tc>
                  <a:txBody>
                    <a:bodyPr/>
                    <a:lstStyle/>
                    <a:p>
                      <a:pPr algn="ctr">
                        <a:defRPr sz="800">
                          <a:latin typeface="Nexa Bold"/>
                        </a:defRPr>
                      </a:pPr>
                      <a:r>
                        <a:t>750-8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358237">
                <a:tc>
                  <a:txBody>
                    <a:bodyPr/>
                    <a:lstStyle/>
                    <a:p>
                      <a:pPr algn="ctr">
                        <a:defRPr sz="800">
                          <a:latin typeface="Nexa Bold"/>
                        </a:defRPr>
                      </a:pPr>
                      <a:r>
                        <a:t>650-7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358237">
                <a:tc>
                  <a:txBody>
                    <a:bodyPr/>
                    <a:lstStyle/>
                    <a:p>
                      <a:pPr algn="ctr">
                        <a:defRPr sz="800">
                          <a:latin typeface="Nexa Bold"/>
                        </a:defRPr>
                      </a:pPr>
                      <a:r>
                        <a:t>550-6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358237">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358237">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358237">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358237">
                <a:tc>
                  <a:txBody>
                    <a:bodyPr/>
                    <a:lstStyle/>
                    <a:p>
                      <a:pPr algn="ctr">
                        <a:defRPr sz="800">
                          <a:latin typeface="Nexa Bold"/>
                        </a:defRPr>
                      </a:pPr>
                      <a:r>
                        <a:t>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32773169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Protein Spoon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237">
                <a:tc>
                  <a:txBody>
                    <a:bodyPr/>
                    <a:lstStyle/>
                    <a:p>
                      <a:pPr algn="ctr">
                        <a:defRPr sz="800">
                          <a:latin typeface="Nexa Bold"/>
                        </a:defRPr>
                      </a:pPr>
                      <a:r>
                        <a:t>9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358237">
                <a:tc>
                  <a:txBody>
                    <a:bodyPr/>
                    <a:lstStyle/>
                    <a:p>
                      <a:pPr algn="ctr">
                        <a:defRPr sz="800">
                          <a:latin typeface="Nexa Bold"/>
                        </a:defRPr>
                      </a:pPr>
                      <a:r>
                        <a:t>850-9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358237">
                <a:tc>
                  <a:txBody>
                    <a:bodyPr/>
                    <a:lstStyle/>
                    <a:p>
                      <a:pPr algn="ctr">
                        <a:defRPr sz="800">
                          <a:latin typeface="Nexa Bold"/>
                        </a:defRPr>
                      </a:pPr>
                      <a:r>
                        <a:t>750-8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358237">
                <a:tc>
                  <a:txBody>
                    <a:bodyPr/>
                    <a:lstStyle/>
                    <a:p>
                      <a:pPr algn="ctr">
                        <a:defRPr sz="800">
                          <a:latin typeface="Nexa Bold"/>
                        </a:defRPr>
                      </a:pPr>
                      <a:r>
                        <a:t>650-7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358237">
                <a:tc>
                  <a:txBody>
                    <a:bodyPr/>
                    <a:lstStyle/>
                    <a:p>
                      <a:pPr algn="ctr">
                        <a:defRPr sz="800">
                          <a:latin typeface="Nexa Bold"/>
                        </a:defRPr>
                      </a:pPr>
                      <a:r>
                        <a:t>550-6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358237">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358237">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358237">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358237">
                <a:tc>
                  <a:txBody>
                    <a:bodyPr/>
                    <a:lstStyle/>
                    <a:p>
                      <a:pPr algn="ctr">
                        <a:defRPr sz="800">
                          <a:latin typeface="Nexa Bold"/>
                        </a:defRPr>
                      </a:pPr>
                      <a:r>
                        <a:t>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231661025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Protein Spoon | Ahorrama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237">
                <a:tc>
                  <a:txBody>
                    <a:bodyPr/>
                    <a:lstStyle/>
                    <a:p>
                      <a:pPr algn="ctr">
                        <a:defRPr sz="800">
                          <a:latin typeface="Nexa Bold"/>
                        </a:defRPr>
                      </a:pPr>
                      <a:r>
                        <a:t>9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358237">
                <a:tc>
                  <a:txBody>
                    <a:bodyPr/>
                    <a:lstStyle/>
                    <a:p>
                      <a:pPr algn="ctr">
                        <a:defRPr sz="800">
                          <a:latin typeface="Nexa Bold"/>
                        </a:defRPr>
                      </a:pPr>
                      <a:r>
                        <a:t>850-9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358237">
                <a:tc>
                  <a:txBody>
                    <a:bodyPr/>
                    <a:lstStyle/>
                    <a:p>
                      <a:pPr algn="ctr">
                        <a:defRPr sz="800">
                          <a:latin typeface="Nexa Bold"/>
                        </a:defRPr>
                      </a:pPr>
                      <a:r>
                        <a:t>750-8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358237">
                <a:tc>
                  <a:txBody>
                    <a:bodyPr/>
                    <a:lstStyle/>
                    <a:p>
                      <a:pPr algn="ctr">
                        <a:defRPr sz="800">
                          <a:latin typeface="Nexa Bold"/>
                        </a:defRPr>
                      </a:pPr>
                      <a:r>
                        <a:t>650-7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358237">
                <a:tc>
                  <a:txBody>
                    <a:bodyPr/>
                    <a:lstStyle/>
                    <a:p>
                      <a:pPr algn="ctr">
                        <a:defRPr sz="800">
                          <a:latin typeface="Nexa Bold"/>
                        </a:defRPr>
                      </a:pPr>
                      <a:r>
                        <a:t>550-6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358237">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358237">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358237">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358237">
                <a:tc>
                  <a:txBody>
                    <a:bodyPr/>
                    <a:lstStyle/>
                    <a:p>
                      <a:pPr algn="ctr">
                        <a:defRPr sz="800">
                          <a:latin typeface="Nexa Bold"/>
                        </a:defRPr>
                      </a:pPr>
                      <a:r>
                        <a:t>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392835911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Protein Spoon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237">
                <a:tc>
                  <a:txBody>
                    <a:bodyPr/>
                    <a:lstStyle/>
                    <a:p>
                      <a:pPr algn="ctr">
                        <a:defRPr sz="800">
                          <a:latin typeface="Nexa Bold"/>
                        </a:defRPr>
                      </a:pPr>
                      <a:r>
                        <a:t>9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358237">
                <a:tc>
                  <a:txBody>
                    <a:bodyPr/>
                    <a:lstStyle/>
                    <a:p>
                      <a:pPr algn="ctr">
                        <a:defRPr sz="800">
                          <a:latin typeface="Nexa Bold"/>
                        </a:defRPr>
                      </a:pPr>
                      <a:r>
                        <a:t>850-9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358237">
                <a:tc>
                  <a:txBody>
                    <a:bodyPr/>
                    <a:lstStyle/>
                    <a:p>
                      <a:pPr algn="ctr">
                        <a:defRPr sz="800">
                          <a:latin typeface="Nexa Bold"/>
                        </a:defRPr>
                      </a:pPr>
                      <a:r>
                        <a:t>750-8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358237">
                <a:tc>
                  <a:txBody>
                    <a:bodyPr/>
                    <a:lstStyle/>
                    <a:p>
                      <a:pPr algn="ctr">
                        <a:defRPr sz="800">
                          <a:latin typeface="Nexa Bold"/>
                        </a:defRPr>
                      </a:pPr>
                      <a:r>
                        <a:t>650-7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358237">
                <a:tc>
                  <a:txBody>
                    <a:bodyPr/>
                    <a:lstStyle/>
                    <a:p>
                      <a:pPr algn="ctr">
                        <a:defRPr sz="800">
                          <a:latin typeface="Nexa Bold"/>
                        </a:defRPr>
                      </a:pPr>
                      <a:r>
                        <a:t>550-6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358237">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358237">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358237">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358237">
                <a:tc>
                  <a:txBody>
                    <a:bodyPr/>
                    <a:lstStyle/>
                    <a:p>
                      <a:pPr algn="ctr">
                        <a:defRPr sz="800">
                          <a:latin typeface="Nexa Bold"/>
                        </a:defRPr>
                      </a:pPr>
                      <a:r>
                        <a:t>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143969920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Yogurt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Yopro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Yopro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Yopro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237">
                <a:tc>
                  <a:txBody>
                    <a:bodyPr/>
                    <a:lstStyle/>
                    <a:p>
                      <a:pPr algn="ctr">
                        <a:defRPr sz="800">
                          <a:latin typeface="Nexa Bold"/>
                        </a:defRPr>
                      </a:pPr>
                      <a:r>
                        <a:t>9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358237">
                <a:tc>
                  <a:txBody>
                    <a:bodyPr/>
                    <a:lstStyle/>
                    <a:p>
                      <a:pPr algn="ctr">
                        <a:defRPr sz="800">
                          <a:latin typeface="Nexa Bold"/>
                        </a:defRPr>
                      </a:pPr>
                      <a:r>
                        <a:t>850-9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358237">
                <a:tc>
                  <a:txBody>
                    <a:bodyPr/>
                    <a:lstStyle/>
                    <a:p>
                      <a:pPr algn="ctr">
                        <a:defRPr sz="800">
                          <a:latin typeface="Nexa Bold"/>
                        </a:defRPr>
                      </a:pPr>
                      <a:r>
                        <a:t>750-8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358237">
                <a:tc>
                  <a:txBody>
                    <a:bodyPr/>
                    <a:lstStyle/>
                    <a:p>
                      <a:pPr algn="ctr">
                        <a:defRPr sz="800">
                          <a:latin typeface="Nexa Bold"/>
                        </a:defRPr>
                      </a:pPr>
                      <a:r>
                        <a:t>650-7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358237">
                <a:tc>
                  <a:txBody>
                    <a:bodyPr/>
                    <a:lstStyle/>
                    <a:p>
                      <a:pPr algn="ctr">
                        <a:defRPr sz="800">
                          <a:latin typeface="Nexa Bold"/>
                        </a:defRPr>
                      </a:pPr>
                      <a:r>
                        <a:t>550-6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358237">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358237">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358237">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358237">
                <a:tc>
                  <a:txBody>
                    <a:bodyPr/>
                    <a:lstStyle/>
                    <a:p>
                      <a:pPr algn="ctr">
                        <a:defRPr sz="800">
                          <a:latin typeface="Nexa Bold"/>
                        </a:defRPr>
                      </a:pPr>
                      <a:r>
                        <a:t>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223690731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Yogurt | Ahorrama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Yopro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Yopro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Yopro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237">
                <a:tc>
                  <a:txBody>
                    <a:bodyPr/>
                    <a:lstStyle/>
                    <a:p>
                      <a:pPr algn="ctr">
                        <a:defRPr sz="800">
                          <a:latin typeface="Nexa Bold"/>
                        </a:defRPr>
                      </a:pPr>
                      <a:r>
                        <a:t>9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358237">
                <a:tc>
                  <a:txBody>
                    <a:bodyPr/>
                    <a:lstStyle/>
                    <a:p>
                      <a:pPr algn="ctr">
                        <a:defRPr sz="800">
                          <a:latin typeface="Nexa Bold"/>
                        </a:defRPr>
                      </a:pPr>
                      <a:r>
                        <a:t>850-9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358237">
                <a:tc>
                  <a:txBody>
                    <a:bodyPr/>
                    <a:lstStyle/>
                    <a:p>
                      <a:pPr algn="ctr">
                        <a:defRPr sz="800">
                          <a:latin typeface="Nexa Bold"/>
                        </a:defRPr>
                      </a:pPr>
                      <a:r>
                        <a:t>750-8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358237">
                <a:tc>
                  <a:txBody>
                    <a:bodyPr/>
                    <a:lstStyle/>
                    <a:p>
                      <a:pPr algn="ctr">
                        <a:defRPr sz="800">
                          <a:latin typeface="Nexa Bold"/>
                        </a:defRPr>
                      </a:pPr>
                      <a:r>
                        <a:t>650-7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358237">
                <a:tc>
                  <a:txBody>
                    <a:bodyPr/>
                    <a:lstStyle/>
                    <a:p>
                      <a:pPr algn="ctr">
                        <a:defRPr sz="800">
                          <a:latin typeface="Nexa Bold"/>
                        </a:defRPr>
                      </a:pPr>
                      <a:r>
                        <a:t>550-6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358237">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358237">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358237">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358237">
                <a:tc>
                  <a:txBody>
                    <a:bodyPr/>
                    <a:lstStyle/>
                    <a:p>
                      <a:pPr algn="ctr">
                        <a:defRPr sz="800">
                          <a:latin typeface="Nexa Bold"/>
                        </a:defRPr>
                      </a:pPr>
                      <a:r>
                        <a:t>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210822936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Yogurt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Yopro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Yopro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Yopro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237">
                <a:tc>
                  <a:txBody>
                    <a:bodyPr/>
                    <a:lstStyle/>
                    <a:p>
                      <a:pPr algn="ctr">
                        <a:defRPr sz="800">
                          <a:latin typeface="Nexa Bold"/>
                        </a:defRPr>
                      </a:pPr>
                      <a:r>
                        <a:t>9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358237">
                <a:tc>
                  <a:txBody>
                    <a:bodyPr/>
                    <a:lstStyle/>
                    <a:p>
                      <a:pPr algn="ctr">
                        <a:defRPr sz="800">
                          <a:latin typeface="Nexa Bold"/>
                        </a:defRPr>
                      </a:pPr>
                      <a:r>
                        <a:t>850-9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358237">
                <a:tc>
                  <a:txBody>
                    <a:bodyPr/>
                    <a:lstStyle/>
                    <a:p>
                      <a:pPr algn="ctr">
                        <a:defRPr sz="800">
                          <a:latin typeface="Nexa Bold"/>
                        </a:defRPr>
                      </a:pPr>
                      <a:r>
                        <a:t>750-8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358237">
                <a:tc>
                  <a:txBody>
                    <a:bodyPr/>
                    <a:lstStyle/>
                    <a:p>
                      <a:pPr algn="ctr">
                        <a:defRPr sz="800">
                          <a:latin typeface="Nexa Bold"/>
                        </a:defRPr>
                      </a:pPr>
                      <a:r>
                        <a:t>650-7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358237">
                <a:tc>
                  <a:txBody>
                    <a:bodyPr/>
                    <a:lstStyle/>
                    <a:p>
                      <a:pPr algn="ctr">
                        <a:defRPr sz="800">
                          <a:latin typeface="Nexa Bold"/>
                        </a:defRPr>
                      </a:pPr>
                      <a:r>
                        <a:t>550-6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358237">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358237">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358237">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358237">
                <a:tc>
                  <a:txBody>
                    <a:bodyPr/>
                    <a:lstStyle/>
                    <a:p>
                      <a:pPr algn="ctr">
                        <a:defRPr sz="800">
                          <a:latin typeface="Nexa Bold"/>
                        </a:defRPr>
                      </a:pPr>
                      <a:r>
                        <a:t>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185136352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Protein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Yopro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Yopro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Yopro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237">
                <a:tc>
                  <a:txBody>
                    <a:bodyPr/>
                    <a:lstStyle/>
                    <a:p>
                      <a:pPr algn="ctr">
                        <a:defRPr sz="800">
                          <a:latin typeface="Nexa Bold"/>
                        </a:defRPr>
                      </a:pPr>
                      <a:r>
                        <a:t>9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358237">
                <a:tc>
                  <a:txBody>
                    <a:bodyPr/>
                    <a:lstStyle/>
                    <a:p>
                      <a:pPr algn="ctr">
                        <a:defRPr sz="800">
                          <a:latin typeface="Nexa Bold"/>
                        </a:defRPr>
                      </a:pPr>
                      <a:r>
                        <a:t>850-9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358237">
                <a:tc>
                  <a:txBody>
                    <a:bodyPr/>
                    <a:lstStyle/>
                    <a:p>
                      <a:pPr algn="ctr">
                        <a:defRPr sz="800">
                          <a:latin typeface="Nexa Bold"/>
                        </a:defRPr>
                      </a:pPr>
                      <a:r>
                        <a:t>750-8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358237">
                <a:tc>
                  <a:txBody>
                    <a:bodyPr/>
                    <a:lstStyle/>
                    <a:p>
                      <a:pPr algn="ctr">
                        <a:defRPr sz="800">
                          <a:latin typeface="Nexa Bold"/>
                        </a:defRPr>
                      </a:pPr>
                      <a:r>
                        <a:t>650-7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358237">
                <a:tc>
                  <a:txBody>
                    <a:bodyPr/>
                    <a:lstStyle/>
                    <a:p>
                      <a:pPr algn="ctr">
                        <a:defRPr sz="800">
                          <a:latin typeface="Nexa Bold"/>
                        </a:defRPr>
                      </a:pPr>
                      <a:r>
                        <a:t>550-6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358237">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358237">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358237">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358237">
                <a:tc>
                  <a:txBody>
                    <a:bodyPr/>
                    <a:lstStyle/>
                    <a:p>
                      <a:pPr algn="ctr">
                        <a:defRPr sz="800">
                          <a:latin typeface="Nexa Bold"/>
                        </a:defRPr>
                      </a:pPr>
                      <a:r>
                        <a:t>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64148624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Protein | Ahorrama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Yopro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Yopro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Yopro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237">
                <a:tc>
                  <a:txBody>
                    <a:bodyPr/>
                    <a:lstStyle/>
                    <a:p>
                      <a:pPr algn="ctr">
                        <a:defRPr sz="800">
                          <a:latin typeface="Nexa Bold"/>
                        </a:defRPr>
                      </a:pPr>
                      <a:r>
                        <a:t>9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358237">
                <a:tc>
                  <a:txBody>
                    <a:bodyPr/>
                    <a:lstStyle/>
                    <a:p>
                      <a:pPr algn="ctr">
                        <a:defRPr sz="800">
                          <a:latin typeface="Nexa Bold"/>
                        </a:defRPr>
                      </a:pPr>
                      <a:r>
                        <a:t>850-9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358237">
                <a:tc>
                  <a:txBody>
                    <a:bodyPr/>
                    <a:lstStyle/>
                    <a:p>
                      <a:pPr algn="ctr">
                        <a:defRPr sz="800">
                          <a:latin typeface="Nexa Bold"/>
                        </a:defRPr>
                      </a:pPr>
                      <a:r>
                        <a:t>750-8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358237">
                <a:tc>
                  <a:txBody>
                    <a:bodyPr/>
                    <a:lstStyle/>
                    <a:p>
                      <a:pPr algn="ctr">
                        <a:defRPr sz="800">
                          <a:latin typeface="Nexa Bold"/>
                        </a:defRPr>
                      </a:pPr>
                      <a:r>
                        <a:t>650-7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358237">
                <a:tc>
                  <a:txBody>
                    <a:bodyPr/>
                    <a:lstStyle/>
                    <a:p>
                      <a:pPr algn="ctr">
                        <a:defRPr sz="800">
                          <a:latin typeface="Nexa Bold"/>
                        </a:defRPr>
                      </a:pPr>
                      <a:r>
                        <a:t>550-6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358237">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358237">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358237">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358237">
                <a:tc>
                  <a:txBody>
                    <a:bodyPr/>
                    <a:lstStyle/>
                    <a:p>
                      <a:pPr algn="ctr">
                        <a:defRPr sz="800">
                          <a:latin typeface="Nexa Bold"/>
                        </a:defRPr>
                      </a:pPr>
                      <a:r>
                        <a:t>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324226511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Yogurt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Group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Group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Group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237">
                <a:tc>
                  <a:txBody>
                    <a:bodyPr/>
                    <a:lstStyle/>
                    <a:p>
                      <a:pPr algn="ctr">
                        <a:defRPr sz="800">
                          <a:latin typeface="Nexa Bold"/>
                        </a:defRPr>
                      </a:pPr>
                      <a:r>
                        <a:t>9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358237">
                <a:tc>
                  <a:txBody>
                    <a:bodyPr/>
                    <a:lstStyle/>
                    <a:p>
                      <a:pPr algn="ctr">
                        <a:defRPr sz="800">
                          <a:latin typeface="Nexa Bold"/>
                        </a:defRPr>
                      </a:pPr>
                      <a:r>
                        <a:t>850-9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358237">
                <a:tc>
                  <a:txBody>
                    <a:bodyPr/>
                    <a:lstStyle/>
                    <a:p>
                      <a:pPr algn="ctr">
                        <a:defRPr sz="800">
                          <a:latin typeface="Nexa Bold"/>
                        </a:defRPr>
                      </a:pPr>
                      <a:r>
                        <a:t>750-8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358237">
                <a:tc>
                  <a:txBody>
                    <a:bodyPr/>
                    <a:lstStyle/>
                    <a:p>
                      <a:pPr algn="ctr">
                        <a:defRPr sz="800">
                          <a:latin typeface="Nexa Bold"/>
                        </a:defRPr>
                      </a:pPr>
                      <a:r>
                        <a:t>650-7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358237">
                <a:tc>
                  <a:txBody>
                    <a:bodyPr/>
                    <a:lstStyle/>
                    <a:p>
                      <a:pPr algn="ctr">
                        <a:defRPr sz="800">
                          <a:latin typeface="Nexa Bold"/>
                        </a:defRPr>
                      </a:pPr>
                      <a:r>
                        <a:t>550-6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358237">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358237">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358237">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358237">
                <a:tc>
                  <a:txBody>
                    <a:bodyPr/>
                    <a:lstStyle/>
                    <a:p>
                      <a:pPr algn="ctr">
                        <a:defRPr sz="800">
                          <a:latin typeface="Nexa Bold"/>
                        </a:defRPr>
                      </a:pPr>
                      <a:r>
                        <a:t>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154511309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Protein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Yopro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Yopro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Yopro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237">
                <a:tc>
                  <a:txBody>
                    <a:bodyPr/>
                    <a:lstStyle/>
                    <a:p>
                      <a:pPr algn="ctr">
                        <a:defRPr sz="800">
                          <a:latin typeface="Nexa Bold"/>
                        </a:defRPr>
                      </a:pPr>
                      <a:r>
                        <a:t>9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358237">
                <a:tc>
                  <a:txBody>
                    <a:bodyPr/>
                    <a:lstStyle/>
                    <a:p>
                      <a:pPr algn="ctr">
                        <a:defRPr sz="800">
                          <a:latin typeface="Nexa Bold"/>
                        </a:defRPr>
                      </a:pPr>
                      <a:r>
                        <a:t>850-9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358237">
                <a:tc>
                  <a:txBody>
                    <a:bodyPr/>
                    <a:lstStyle/>
                    <a:p>
                      <a:pPr algn="ctr">
                        <a:defRPr sz="800">
                          <a:latin typeface="Nexa Bold"/>
                        </a:defRPr>
                      </a:pPr>
                      <a:r>
                        <a:t>750-8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358237">
                <a:tc>
                  <a:txBody>
                    <a:bodyPr/>
                    <a:lstStyle/>
                    <a:p>
                      <a:pPr algn="ctr">
                        <a:defRPr sz="800">
                          <a:latin typeface="Nexa Bold"/>
                        </a:defRPr>
                      </a:pPr>
                      <a:r>
                        <a:t>650-7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358237">
                <a:tc>
                  <a:txBody>
                    <a:bodyPr/>
                    <a:lstStyle/>
                    <a:p>
                      <a:pPr algn="ctr">
                        <a:defRPr sz="800">
                          <a:latin typeface="Nexa Bold"/>
                        </a:defRPr>
                      </a:pPr>
                      <a:r>
                        <a:t>550-6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358237">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358237">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358237">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358237">
                <a:tc>
                  <a:txBody>
                    <a:bodyPr/>
                    <a:lstStyle/>
                    <a:p>
                      <a:pPr algn="ctr">
                        <a:defRPr sz="800">
                          <a:latin typeface="Nexa Bold"/>
                        </a:defRPr>
                      </a:pPr>
                      <a:r>
                        <a:t>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234092901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Protein Drink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Yopro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Yopro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Yopro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237">
                <a:tc>
                  <a:txBody>
                    <a:bodyPr/>
                    <a:lstStyle/>
                    <a:p>
                      <a:pPr algn="ctr">
                        <a:defRPr sz="800">
                          <a:latin typeface="Nexa Bold"/>
                        </a:defRPr>
                      </a:pPr>
                      <a:r>
                        <a:t>9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358237">
                <a:tc>
                  <a:txBody>
                    <a:bodyPr/>
                    <a:lstStyle/>
                    <a:p>
                      <a:pPr algn="ctr">
                        <a:defRPr sz="800">
                          <a:latin typeface="Nexa Bold"/>
                        </a:defRPr>
                      </a:pPr>
                      <a:r>
                        <a:t>850-9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358237">
                <a:tc>
                  <a:txBody>
                    <a:bodyPr/>
                    <a:lstStyle/>
                    <a:p>
                      <a:pPr algn="ctr">
                        <a:defRPr sz="800">
                          <a:latin typeface="Nexa Bold"/>
                        </a:defRPr>
                      </a:pPr>
                      <a:r>
                        <a:t>750-8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358237">
                <a:tc>
                  <a:txBody>
                    <a:bodyPr/>
                    <a:lstStyle/>
                    <a:p>
                      <a:pPr algn="ctr">
                        <a:defRPr sz="800">
                          <a:latin typeface="Nexa Bold"/>
                        </a:defRPr>
                      </a:pPr>
                      <a:r>
                        <a:t>650-7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358237">
                <a:tc>
                  <a:txBody>
                    <a:bodyPr/>
                    <a:lstStyle/>
                    <a:p>
                      <a:pPr algn="ctr">
                        <a:defRPr sz="800">
                          <a:latin typeface="Nexa Bold"/>
                        </a:defRPr>
                      </a:pPr>
                      <a:r>
                        <a:t>550-6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358237">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358237">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358237">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358237">
                <a:tc>
                  <a:txBody>
                    <a:bodyPr/>
                    <a:lstStyle/>
                    <a:p>
                      <a:pPr algn="ctr">
                        <a:defRPr sz="800">
                          <a:latin typeface="Nexa Bold"/>
                        </a:defRPr>
                      </a:pPr>
                      <a:r>
                        <a:t>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31920318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Protein Drink | Ahorrama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Yopro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Yopro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Yopro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237">
                <a:tc>
                  <a:txBody>
                    <a:bodyPr/>
                    <a:lstStyle/>
                    <a:p>
                      <a:pPr algn="ctr">
                        <a:defRPr sz="800">
                          <a:latin typeface="Nexa Bold"/>
                        </a:defRPr>
                      </a:pPr>
                      <a:r>
                        <a:t>9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358237">
                <a:tc>
                  <a:txBody>
                    <a:bodyPr/>
                    <a:lstStyle/>
                    <a:p>
                      <a:pPr algn="ctr">
                        <a:defRPr sz="800">
                          <a:latin typeface="Nexa Bold"/>
                        </a:defRPr>
                      </a:pPr>
                      <a:r>
                        <a:t>850-9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358237">
                <a:tc>
                  <a:txBody>
                    <a:bodyPr/>
                    <a:lstStyle/>
                    <a:p>
                      <a:pPr algn="ctr">
                        <a:defRPr sz="800">
                          <a:latin typeface="Nexa Bold"/>
                        </a:defRPr>
                      </a:pPr>
                      <a:r>
                        <a:t>750-8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358237">
                <a:tc>
                  <a:txBody>
                    <a:bodyPr/>
                    <a:lstStyle/>
                    <a:p>
                      <a:pPr algn="ctr">
                        <a:defRPr sz="800">
                          <a:latin typeface="Nexa Bold"/>
                        </a:defRPr>
                      </a:pPr>
                      <a:r>
                        <a:t>650-7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358237">
                <a:tc>
                  <a:txBody>
                    <a:bodyPr/>
                    <a:lstStyle/>
                    <a:p>
                      <a:pPr algn="ctr">
                        <a:defRPr sz="800">
                          <a:latin typeface="Nexa Bold"/>
                        </a:defRPr>
                      </a:pPr>
                      <a:r>
                        <a:t>550-6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358237">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358237">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358237">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358237">
                <a:tc>
                  <a:txBody>
                    <a:bodyPr/>
                    <a:lstStyle/>
                    <a:p>
                      <a:pPr algn="ctr">
                        <a:defRPr sz="800">
                          <a:latin typeface="Nexa Bold"/>
                        </a:defRPr>
                      </a:pPr>
                      <a:r>
                        <a:t>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287903657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Protein Drink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Yopro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Yopro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Yopro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237">
                <a:tc>
                  <a:txBody>
                    <a:bodyPr/>
                    <a:lstStyle/>
                    <a:p>
                      <a:pPr algn="ctr">
                        <a:defRPr sz="800">
                          <a:latin typeface="Nexa Bold"/>
                        </a:defRPr>
                      </a:pPr>
                      <a:r>
                        <a:t>9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358237">
                <a:tc>
                  <a:txBody>
                    <a:bodyPr/>
                    <a:lstStyle/>
                    <a:p>
                      <a:pPr algn="ctr">
                        <a:defRPr sz="800">
                          <a:latin typeface="Nexa Bold"/>
                        </a:defRPr>
                      </a:pPr>
                      <a:r>
                        <a:t>850-9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358237">
                <a:tc>
                  <a:txBody>
                    <a:bodyPr/>
                    <a:lstStyle/>
                    <a:p>
                      <a:pPr algn="ctr">
                        <a:defRPr sz="800">
                          <a:latin typeface="Nexa Bold"/>
                        </a:defRPr>
                      </a:pPr>
                      <a:r>
                        <a:t>750-8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358237">
                <a:tc>
                  <a:txBody>
                    <a:bodyPr/>
                    <a:lstStyle/>
                    <a:p>
                      <a:pPr algn="ctr">
                        <a:defRPr sz="800">
                          <a:latin typeface="Nexa Bold"/>
                        </a:defRPr>
                      </a:pPr>
                      <a:r>
                        <a:t>650-7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358237">
                <a:tc>
                  <a:txBody>
                    <a:bodyPr/>
                    <a:lstStyle/>
                    <a:p>
                      <a:pPr algn="ctr">
                        <a:defRPr sz="800">
                          <a:latin typeface="Nexa Bold"/>
                        </a:defRPr>
                      </a:pPr>
                      <a:r>
                        <a:t>550-6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358237">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358237">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358237">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358237">
                <a:tc>
                  <a:txBody>
                    <a:bodyPr/>
                    <a:lstStyle/>
                    <a:p>
                      <a:pPr algn="ctr">
                        <a:defRPr sz="800">
                          <a:latin typeface="Nexa Bold"/>
                        </a:defRPr>
                      </a:pPr>
                      <a:r>
                        <a:t>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387593888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Protein Spoon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Yopro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Yopro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Yopro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237">
                <a:tc>
                  <a:txBody>
                    <a:bodyPr/>
                    <a:lstStyle/>
                    <a:p>
                      <a:pPr algn="ctr">
                        <a:defRPr sz="800">
                          <a:latin typeface="Nexa Bold"/>
                        </a:defRPr>
                      </a:pPr>
                      <a:r>
                        <a:t>9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358237">
                <a:tc>
                  <a:txBody>
                    <a:bodyPr/>
                    <a:lstStyle/>
                    <a:p>
                      <a:pPr algn="ctr">
                        <a:defRPr sz="800">
                          <a:latin typeface="Nexa Bold"/>
                        </a:defRPr>
                      </a:pPr>
                      <a:r>
                        <a:t>850-9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358237">
                <a:tc>
                  <a:txBody>
                    <a:bodyPr/>
                    <a:lstStyle/>
                    <a:p>
                      <a:pPr algn="ctr">
                        <a:defRPr sz="800">
                          <a:latin typeface="Nexa Bold"/>
                        </a:defRPr>
                      </a:pPr>
                      <a:r>
                        <a:t>750-8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358237">
                <a:tc>
                  <a:txBody>
                    <a:bodyPr/>
                    <a:lstStyle/>
                    <a:p>
                      <a:pPr algn="ctr">
                        <a:defRPr sz="800">
                          <a:latin typeface="Nexa Bold"/>
                        </a:defRPr>
                      </a:pPr>
                      <a:r>
                        <a:t>650-7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358237">
                <a:tc>
                  <a:txBody>
                    <a:bodyPr/>
                    <a:lstStyle/>
                    <a:p>
                      <a:pPr algn="ctr">
                        <a:defRPr sz="800">
                          <a:latin typeface="Nexa Bold"/>
                        </a:defRPr>
                      </a:pPr>
                      <a:r>
                        <a:t>550-6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358237">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358237">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358237">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358237">
                <a:tc>
                  <a:txBody>
                    <a:bodyPr/>
                    <a:lstStyle/>
                    <a:p>
                      <a:pPr algn="ctr">
                        <a:defRPr sz="800">
                          <a:latin typeface="Nexa Bold"/>
                        </a:defRPr>
                      </a:pPr>
                      <a:r>
                        <a:t>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419756976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Protein Spoon | Ahorrama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Yopro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Yopro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Yopro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237">
                <a:tc>
                  <a:txBody>
                    <a:bodyPr/>
                    <a:lstStyle/>
                    <a:p>
                      <a:pPr algn="ctr">
                        <a:defRPr sz="800">
                          <a:latin typeface="Nexa Bold"/>
                        </a:defRPr>
                      </a:pPr>
                      <a:r>
                        <a:t>9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358237">
                <a:tc>
                  <a:txBody>
                    <a:bodyPr/>
                    <a:lstStyle/>
                    <a:p>
                      <a:pPr algn="ctr">
                        <a:defRPr sz="800">
                          <a:latin typeface="Nexa Bold"/>
                        </a:defRPr>
                      </a:pPr>
                      <a:r>
                        <a:t>850-9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358237">
                <a:tc>
                  <a:txBody>
                    <a:bodyPr/>
                    <a:lstStyle/>
                    <a:p>
                      <a:pPr algn="ctr">
                        <a:defRPr sz="800">
                          <a:latin typeface="Nexa Bold"/>
                        </a:defRPr>
                      </a:pPr>
                      <a:r>
                        <a:t>750-8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358237">
                <a:tc>
                  <a:txBody>
                    <a:bodyPr/>
                    <a:lstStyle/>
                    <a:p>
                      <a:pPr algn="ctr">
                        <a:defRPr sz="800">
                          <a:latin typeface="Nexa Bold"/>
                        </a:defRPr>
                      </a:pPr>
                      <a:r>
                        <a:t>650-7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358237">
                <a:tc>
                  <a:txBody>
                    <a:bodyPr/>
                    <a:lstStyle/>
                    <a:p>
                      <a:pPr algn="ctr">
                        <a:defRPr sz="800">
                          <a:latin typeface="Nexa Bold"/>
                        </a:defRPr>
                      </a:pPr>
                      <a:r>
                        <a:t>550-6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358237">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358237">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358237">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358237">
                <a:tc>
                  <a:txBody>
                    <a:bodyPr/>
                    <a:lstStyle/>
                    <a:p>
                      <a:pPr algn="ctr">
                        <a:defRPr sz="800">
                          <a:latin typeface="Nexa Bold"/>
                        </a:defRPr>
                      </a:pPr>
                      <a:r>
                        <a:t>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130633883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Protein Spoon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Yopro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Yopro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Yopro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237">
                <a:tc>
                  <a:txBody>
                    <a:bodyPr/>
                    <a:lstStyle/>
                    <a:p>
                      <a:pPr algn="ctr">
                        <a:defRPr sz="800">
                          <a:latin typeface="Nexa Bold"/>
                        </a:defRPr>
                      </a:pPr>
                      <a:r>
                        <a:t>9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358237">
                <a:tc>
                  <a:txBody>
                    <a:bodyPr/>
                    <a:lstStyle/>
                    <a:p>
                      <a:pPr algn="ctr">
                        <a:defRPr sz="800">
                          <a:latin typeface="Nexa Bold"/>
                        </a:defRPr>
                      </a:pPr>
                      <a:r>
                        <a:t>850-9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358237">
                <a:tc>
                  <a:txBody>
                    <a:bodyPr/>
                    <a:lstStyle/>
                    <a:p>
                      <a:pPr algn="ctr">
                        <a:defRPr sz="800">
                          <a:latin typeface="Nexa Bold"/>
                        </a:defRPr>
                      </a:pPr>
                      <a:r>
                        <a:t>750-8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358237">
                <a:tc>
                  <a:txBody>
                    <a:bodyPr/>
                    <a:lstStyle/>
                    <a:p>
                      <a:pPr algn="ctr">
                        <a:defRPr sz="800">
                          <a:latin typeface="Nexa Bold"/>
                        </a:defRPr>
                      </a:pPr>
                      <a:r>
                        <a:t>650-7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358237">
                <a:tc>
                  <a:txBody>
                    <a:bodyPr/>
                    <a:lstStyle/>
                    <a:p>
                      <a:pPr algn="ctr">
                        <a:defRPr sz="800">
                          <a:latin typeface="Nexa Bold"/>
                        </a:defRPr>
                      </a:pPr>
                      <a:r>
                        <a:t>550-6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358237">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358237">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358237">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358237">
                <a:tc>
                  <a:txBody>
                    <a:bodyPr/>
                    <a:lstStyle/>
                    <a:p>
                      <a:pPr algn="ctr">
                        <a:defRPr sz="800">
                          <a:latin typeface="Nexa Bold"/>
                        </a:defRPr>
                      </a:pPr>
                      <a:r>
                        <a:t>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38136272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Protein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Group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Group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Group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237">
                <a:tc>
                  <a:txBody>
                    <a:bodyPr/>
                    <a:lstStyle/>
                    <a:p>
                      <a:pPr algn="ctr">
                        <a:defRPr sz="800">
                          <a:latin typeface="Nexa Bold"/>
                        </a:defRPr>
                      </a:pPr>
                      <a:r>
                        <a:t>9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358237">
                <a:tc>
                  <a:txBody>
                    <a:bodyPr/>
                    <a:lstStyle/>
                    <a:p>
                      <a:pPr algn="ctr">
                        <a:defRPr sz="800">
                          <a:latin typeface="Nexa Bold"/>
                        </a:defRPr>
                      </a:pPr>
                      <a:r>
                        <a:t>850-9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358237">
                <a:tc>
                  <a:txBody>
                    <a:bodyPr/>
                    <a:lstStyle/>
                    <a:p>
                      <a:pPr algn="ctr">
                        <a:defRPr sz="800">
                          <a:latin typeface="Nexa Bold"/>
                        </a:defRPr>
                      </a:pPr>
                      <a:r>
                        <a:t>750-8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358237">
                <a:tc>
                  <a:txBody>
                    <a:bodyPr/>
                    <a:lstStyle/>
                    <a:p>
                      <a:pPr algn="ctr">
                        <a:defRPr sz="800">
                          <a:latin typeface="Nexa Bold"/>
                        </a:defRPr>
                      </a:pPr>
                      <a:r>
                        <a:t>650-7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358237">
                <a:tc>
                  <a:txBody>
                    <a:bodyPr/>
                    <a:lstStyle/>
                    <a:p>
                      <a:pPr algn="ctr">
                        <a:defRPr sz="800">
                          <a:latin typeface="Nexa Bold"/>
                        </a:defRPr>
                      </a:pPr>
                      <a:r>
                        <a:t>550-6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358237">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358237">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358237">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358237">
                <a:tc>
                  <a:txBody>
                    <a:bodyPr/>
                    <a:lstStyle/>
                    <a:p>
                      <a:pPr algn="ctr">
                        <a:defRPr sz="800">
                          <a:latin typeface="Nexa Bold"/>
                        </a:defRPr>
                      </a:pPr>
                      <a:r>
                        <a:t>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6874350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Protein | Ahorrama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Group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Group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Group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237">
                <a:tc>
                  <a:txBody>
                    <a:bodyPr/>
                    <a:lstStyle/>
                    <a:p>
                      <a:pPr algn="ctr">
                        <a:defRPr sz="800">
                          <a:latin typeface="Nexa Bold"/>
                        </a:defRPr>
                      </a:pPr>
                      <a:r>
                        <a:t>9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358237">
                <a:tc>
                  <a:txBody>
                    <a:bodyPr/>
                    <a:lstStyle/>
                    <a:p>
                      <a:pPr algn="ctr">
                        <a:defRPr sz="800">
                          <a:latin typeface="Nexa Bold"/>
                        </a:defRPr>
                      </a:pPr>
                      <a:r>
                        <a:t>850-9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358237">
                <a:tc>
                  <a:txBody>
                    <a:bodyPr/>
                    <a:lstStyle/>
                    <a:p>
                      <a:pPr algn="ctr">
                        <a:defRPr sz="800">
                          <a:latin typeface="Nexa Bold"/>
                        </a:defRPr>
                      </a:pPr>
                      <a:r>
                        <a:t>750-8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358237">
                <a:tc>
                  <a:txBody>
                    <a:bodyPr/>
                    <a:lstStyle/>
                    <a:p>
                      <a:pPr algn="ctr">
                        <a:defRPr sz="800">
                          <a:latin typeface="Nexa Bold"/>
                        </a:defRPr>
                      </a:pPr>
                      <a:r>
                        <a:t>650-7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358237">
                <a:tc>
                  <a:txBody>
                    <a:bodyPr/>
                    <a:lstStyle/>
                    <a:p>
                      <a:pPr algn="ctr">
                        <a:defRPr sz="800">
                          <a:latin typeface="Nexa Bold"/>
                        </a:defRPr>
                      </a:pPr>
                      <a:r>
                        <a:t>550-6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358237">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358237">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358237">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358237">
                <a:tc>
                  <a:txBody>
                    <a:bodyPr/>
                    <a:lstStyle/>
                    <a:p>
                      <a:pPr algn="ctr">
                        <a:defRPr sz="800">
                          <a:latin typeface="Nexa Bold"/>
                        </a:defRPr>
                      </a:pPr>
                      <a:r>
                        <a:t>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399805212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Protein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Group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Group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Group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237">
                <a:tc>
                  <a:txBody>
                    <a:bodyPr/>
                    <a:lstStyle/>
                    <a:p>
                      <a:pPr algn="ctr">
                        <a:defRPr sz="800">
                          <a:latin typeface="Nexa Bold"/>
                        </a:defRPr>
                      </a:pPr>
                      <a:r>
                        <a:t>9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358237">
                <a:tc>
                  <a:txBody>
                    <a:bodyPr/>
                    <a:lstStyle/>
                    <a:p>
                      <a:pPr algn="ctr">
                        <a:defRPr sz="800">
                          <a:latin typeface="Nexa Bold"/>
                        </a:defRPr>
                      </a:pPr>
                      <a:r>
                        <a:t>850-9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358237">
                <a:tc>
                  <a:txBody>
                    <a:bodyPr/>
                    <a:lstStyle/>
                    <a:p>
                      <a:pPr algn="ctr">
                        <a:defRPr sz="800">
                          <a:latin typeface="Nexa Bold"/>
                        </a:defRPr>
                      </a:pPr>
                      <a:r>
                        <a:t>750-8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358237">
                <a:tc>
                  <a:txBody>
                    <a:bodyPr/>
                    <a:lstStyle/>
                    <a:p>
                      <a:pPr algn="ctr">
                        <a:defRPr sz="800">
                          <a:latin typeface="Nexa Bold"/>
                        </a:defRPr>
                      </a:pPr>
                      <a:r>
                        <a:t>650-7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358237">
                <a:tc>
                  <a:txBody>
                    <a:bodyPr/>
                    <a:lstStyle/>
                    <a:p>
                      <a:pPr algn="ctr">
                        <a:defRPr sz="800">
                          <a:latin typeface="Nexa Bold"/>
                        </a:defRPr>
                      </a:pPr>
                      <a:r>
                        <a:t>550-6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358237">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358237">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358237">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358237">
                <a:tc>
                  <a:txBody>
                    <a:bodyPr/>
                    <a:lstStyle/>
                    <a:p>
                      <a:pPr algn="ctr">
                        <a:defRPr sz="800">
                          <a:latin typeface="Nexa Bold"/>
                        </a:defRPr>
                      </a:pPr>
                      <a:r>
                        <a:t>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34988653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Protein Drink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Group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Group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Group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237">
                <a:tc>
                  <a:txBody>
                    <a:bodyPr/>
                    <a:lstStyle/>
                    <a:p>
                      <a:pPr algn="ctr">
                        <a:defRPr sz="800">
                          <a:latin typeface="Nexa Bold"/>
                        </a:defRPr>
                      </a:pPr>
                      <a:r>
                        <a:t>9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358237">
                <a:tc>
                  <a:txBody>
                    <a:bodyPr/>
                    <a:lstStyle/>
                    <a:p>
                      <a:pPr algn="ctr">
                        <a:defRPr sz="800">
                          <a:latin typeface="Nexa Bold"/>
                        </a:defRPr>
                      </a:pPr>
                      <a:r>
                        <a:t>850-9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358237">
                <a:tc>
                  <a:txBody>
                    <a:bodyPr/>
                    <a:lstStyle/>
                    <a:p>
                      <a:pPr algn="ctr">
                        <a:defRPr sz="800">
                          <a:latin typeface="Nexa Bold"/>
                        </a:defRPr>
                      </a:pPr>
                      <a:r>
                        <a:t>750-8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358237">
                <a:tc>
                  <a:txBody>
                    <a:bodyPr/>
                    <a:lstStyle/>
                    <a:p>
                      <a:pPr algn="ctr">
                        <a:defRPr sz="800">
                          <a:latin typeface="Nexa Bold"/>
                        </a:defRPr>
                      </a:pPr>
                      <a:r>
                        <a:t>650-7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358237">
                <a:tc>
                  <a:txBody>
                    <a:bodyPr/>
                    <a:lstStyle/>
                    <a:p>
                      <a:pPr algn="ctr">
                        <a:defRPr sz="800">
                          <a:latin typeface="Nexa Bold"/>
                        </a:defRPr>
                      </a:pPr>
                      <a:r>
                        <a:t>550-6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358237">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358237">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358237">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358237">
                <a:tc>
                  <a:txBody>
                    <a:bodyPr/>
                    <a:lstStyle/>
                    <a:p>
                      <a:pPr algn="ctr">
                        <a:defRPr sz="800">
                          <a:latin typeface="Nexa Bold"/>
                        </a:defRPr>
                      </a:pPr>
                      <a:r>
                        <a:t>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8672827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Protein Drink | Ahorrama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Group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Group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Group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237">
                <a:tc>
                  <a:txBody>
                    <a:bodyPr/>
                    <a:lstStyle/>
                    <a:p>
                      <a:pPr algn="ctr">
                        <a:defRPr sz="800">
                          <a:latin typeface="Nexa Bold"/>
                        </a:defRPr>
                      </a:pPr>
                      <a:r>
                        <a:t>9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358237">
                <a:tc>
                  <a:txBody>
                    <a:bodyPr/>
                    <a:lstStyle/>
                    <a:p>
                      <a:pPr algn="ctr">
                        <a:defRPr sz="800">
                          <a:latin typeface="Nexa Bold"/>
                        </a:defRPr>
                      </a:pPr>
                      <a:r>
                        <a:t>850-9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358237">
                <a:tc>
                  <a:txBody>
                    <a:bodyPr/>
                    <a:lstStyle/>
                    <a:p>
                      <a:pPr algn="ctr">
                        <a:defRPr sz="800">
                          <a:latin typeface="Nexa Bold"/>
                        </a:defRPr>
                      </a:pPr>
                      <a:r>
                        <a:t>750-8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358237">
                <a:tc>
                  <a:txBody>
                    <a:bodyPr/>
                    <a:lstStyle/>
                    <a:p>
                      <a:pPr algn="ctr">
                        <a:defRPr sz="800">
                          <a:latin typeface="Nexa Bold"/>
                        </a:defRPr>
                      </a:pPr>
                      <a:r>
                        <a:t>650-7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358237">
                <a:tc>
                  <a:txBody>
                    <a:bodyPr/>
                    <a:lstStyle/>
                    <a:p>
                      <a:pPr algn="ctr">
                        <a:defRPr sz="800">
                          <a:latin typeface="Nexa Bold"/>
                        </a:defRPr>
                      </a:pPr>
                      <a:r>
                        <a:t>550-6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358237">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358237">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358237">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358237">
                <a:tc>
                  <a:txBody>
                    <a:bodyPr/>
                    <a:lstStyle/>
                    <a:p>
                      <a:pPr algn="ctr">
                        <a:defRPr sz="800">
                          <a:latin typeface="Nexa Bold"/>
                        </a:defRPr>
                      </a:pPr>
                      <a:r>
                        <a:t>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201185149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Protein Drink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Group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Group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Group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237">
                <a:tc>
                  <a:txBody>
                    <a:bodyPr/>
                    <a:lstStyle/>
                    <a:p>
                      <a:pPr algn="ctr">
                        <a:defRPr sz="800">
                          <a:latin typeface="Nexa Bold"/>
                        </a:defRPr>
                      </a:pPr>
                      <a:r>
                        <a:t>9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358237">
                <a:tc>
                  <a:txBody>
                    <a:bodyPr/>
                    <a:lstStyle/>
                    <a:p>
                      <a:pPr algn="ctr">
                        <a:defRPr sz="800">
                          <a:latin typeface="Nexa Bold"/>
                        </a:defRPr>
                      </a:pPr>
                      <a:r>
                        <a:t>850-9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358237">
                <a:tc>
                  <a:txBody>
                    <a:bodyPr/>
                    <a:lstStyle/>
                    <a:p>
                      <a:pPr algn="ctr">
                        <a:defRPr sz="800">
                          <a:latin typeface="Nexa Bold"/>
                        </a:defRPr>
                      </a:pPr>
                      <a:r>
                        <a:t>750-8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358237">
                <a:tc>
                  <a:txBody>
                    <a:bodyPr/>
                    <a:lstStyle/>
                    <a:p>
                      <a:pPr algn="ctr">
                        <a:defRPr sz="800">
                          <a:latin typeface="Nexa Bold"/>
                        </a:defRPr>
                      </a:pPr>
                      <a:r>
                        <a:t>650-7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358237">
                <a:tc>
                  <a:txBody>
                    <a:bodyPr/>
                    <a:lstStyle/>
                    <a:p>
                      <a:pPr algn="ctr">
                        <a:defRPr sz="800">
                          <a:latin typeface="Nexa Bold"/>
                        </a:defRPr>
                      </a:pPr>
                      <a:r>
                        <a:t>550-6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358237">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358237">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358237">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358237">
                <a:tc>
                  <a:txBody>
                    <a:bodyPr/>
                    <a:lstStyle/>
                    <a:p>
                      <a:pPr algn="ctr">
                        <a:defRPr sz="800">
                          <a:latin typeface="Nexa Bold"/>
                        </a:defRPr>
                      </a:pPr>
                      <a:r>
                        <a:t>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219587979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6502A1C8-4964-4CAE-93D2-4FFA7871C13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4</TotalTime>
  <Words>3101</Words>
  <Application>Microsoft Office PowerPoint</Application>
  <PresentationFormat>On-screen Show (16:9)</PresentationFormat>
  <Paragraphs>1094</Paragraphs>
  <Slides>36</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36</vt:i4>
      </vt:variant>
    </vt:vector>
  </HeadingPairs>
  <TitlesOfParts>
    <vt:vector size="45" baseType="lpstr">
      <vt:lpstr>Aptos</vt:lpstr>
      <vt:lpstr>Arial</vt:lpstr>
      <vt:lpstr>Nexa</vt:lpstr>
      <vt:lpstr>Nexa Bold</vt:lpstr>
      <vt:lpstr>Nexa Book</vt:lpstr>
      <vt:lpstr>Nexa Book Italic</vt:lpstr>
      <vt:lpstr>Open Sans</vt:lpstr>
      <vt:lpstr>1_PricingOne Light Template Oct 2024</vt:lpstr>
      <vt:lpstr>think-cell Slide</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Raphaella ASHRAF</cp:lastModifiedBy>
  <cp:revision>64</cp:revision>
  <dcterms:created xsi:type="dcterms:W3CDTF">2024-07-05T11:30:58Z</dcterms:created>
  <dcterms:modified xsi:type="dcterms:W3CDTF">2025-07-08T07:08: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